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2" r:id="rId1"/>
    <p:sldMasterId id="2147483679" r:id="rId2"/>
    <p:sldMasterId id="2147483680" r:id="rId3"/>
    <p:sldMasterId id="2147483710" r:id="rId4"/>
  </p:sldMasterIdLst>
  <p:notesMasterIdLst>
    <p:notesMasterId r:id="rId21"/>
  </p:notesMasterIdLst>
  <p:handoutMasterIdLst>
    <p:handoutMasterId r:id="rId22"/>
  </p:handoutMasterIdLst>
  <p:sldIdLst>
    <p:sldId id="256" r:id="rId5"/>
    <p:sldId id="302" r:id="rId6"/>
    <p:sldId id="319" r:id="rId7"/>
    <p:sldId id="300" r:id="rId8"/>
    <p:sldId id="309" r:id="rId9"/>
    <p:sldId id="328" r:id="rId10"/>
    <p:sldId id="325" r:id="rId11"/>
    <p:sldId id="318" r:id="rId12"/>
    <p:sldId id="323" r:id="rId13"/>
    <p:sldId id="312" r:id="rId14"/>
    <p:sldId id="329" r:id="rId15"/>
    <p:sldId id="332" r:id="rId16"/>
    <p:sldId id="333" r:id="rId17"/>
    <p:sldId id="330" r:id="rId18"/>
    <p:sldId id="331" r:id="rId19"/>
    <p:sldId id="334" r:id="rId20"/>
  </p:sldIdLst>
  <p:sldSz cx="9144000" cy="6858000" type="screen4x3"/>
  <p:notesSz cx="6794500" cy="9906000"/>
  <p:defaultTextStyle>
    <a:defPPr>
      <a:defRPr lang="ru-RU"/>
    </a:defPPr>
    <a:lvl1pPr algn="l" rtl="0" fontAlgn="base">
      <a:spcBef>
        <a:spcPct val="5000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Arial Unicode MS" pitchFamily="34" charset="-128"/>
        <a:cs typeface="Arial Unicode MS" pitchFamily="34" charset="-128"/>
      </a:defRPr>
    </a:lvl1pPr>
    <a:lvl2pPr marL="404813" indent="52388" algn="l" rtl="0" fontAlgn="base">
      <a:spcBef>
        <a:spcPct val="5000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Arial Unicode MS" pitchFamily="34" charset="-128"/>
        <a:cs typeface="Arial Unicode MS" pitchFamily="34" charset="-128"/>
      </a:defRPr>
    </a:lvl2pPr>
    <a:lvl3pPr marL="814388" indent="100013" algn="l" rtl="0" fontAlgn="base">
      <a:spcBef>
        <a:spcPct val="5000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Arial Unicode MS" pitchFamily="34" charset="-128"/>
        <a:cs typeface="Arial Unicode MS" pitchFamily="34" charset="-128"/>
      </a:defRPr>
    </a:lvl3pPr>
    <a:lvl4pPr marL="1223963" indent="147638" algn="l" rtl="0" fontAlgn="base">
      <a:spcBef>
        <a:spcPct val="5000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Arial Unicode MS" pitchFamily="34" charset="-128"/>
        <a:cs typeface="Arial Unicode MS" pitchFamily="34" charset="-128"/>
      </a:defRPr>
    </a:lvl4pPr>
    <a:lvl5pPr marL="1631950" indent="196850" algn="l" rtl="0" fontAlgn="base">
      <a:spcBef>
        <a:spcPct val="5000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Arial Unicode MS" pitchFamily="34" charset="-128"/>
        <a:cs typeface="Arial Unicode MS" pitchFamily="34" charset="-128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Arial Unicode MS" pitchFamily="34" charset="-128"/>
        <a:cs typeface="Arial Unicode MS" pitchFamily="34" charset="-128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Arial Unicode MS" pitchFamily="34" charset="-128"/>
        <a:cs typeface="Arial Unicode MS" pitchFamily="34" charset="-128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Arial Unicode MS" pitchFamily="34" charset="-128"/>
        <a:cs typeface="Arial Unicode MS" pitchFamily="34" charset="-128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Arial Unicode MS" pitchFamily="34" charset="-128"/>
        <a:cs typeface="Arial Unicode MS" pitchFamily="34" charset="-128"/>
      </a:defRPr>
    </a:lvl9pPr>
  </p:defaultTextStyle>
  <p:extLst>
    <p:ext uri="{EFAFB233-063F-42B5-8137-9DF3F51BA10A}">
      <p15:sldGuideLst xmlns:p15="http://schemas.microsoft.com/office/powerpoint/2012/main">
        <p15:guide id="1" orient="horz" pos="249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1243">
          <p15:clr>
            <a:srgbClr val="A4A3A4"/>
          </p15:clr>
        </p15:guide>
        <p15:guide id="4" orient="horz" pos="3786">
          <p15:clr>
            <a:srgbClr val="A4A3A4"/>
          </p15:clr>
        </p15:guide>
        <p15:guide id="5" orient="horz" pos="3635">
          <p15:clr>
            <a:srgbClr val="A4A3A4"/>
          </p15:clr>
        </p15:guide>
        <p15:guide id="6" orient="horz" pos="3496">
          <p15:clr>
            <a:srgbClr val="A4A3A4"/>
          </p15:clr>
        </p15:guide>
        <p15:guide id="7" orient="horz" pos="3376">
          <p15:clr>
            <a:srgbClr val="A4A3A4"/>
          </p15:clr>
        </p15:guide>
        <p15:guide id="8" pos="240">
          <p15:clr>
            <a:srgbClr val="A4A3A4"/>
          </p15:clr>
        </p15:guide>
        <p15:guide id="9" pos="4412">
          <p15:clr>
            <a:srgbClr val="A4A3A4"/>
          </p15:clr>
        </p15:guide>
        <p15:guide id="10" pos="2206">
          <p15:clr>
            <a:srgbClr val="A4A3A4"/>
          </p15:clr>
        </p15:guide>
        <p15:guide id="11" pos="2449">
          <p15:clr>
            <a:srgbClr val="A4A3A4"/>
          </p15:clr>
        </p15:guide>
        <p15:guide id="12" pos="4654">
          <p15:clr>
            <a:srgbClr val="A4A3A4"/>
          </p15:clr>
        </p15:guide>
        <p15:guide id="13" pos="5510">
          <p15:clr>
            <a:srgbClr val="A4A3A4"/>
          </p15:clr>
        </p15:guide>
        <p15:guide id="14" pos="1134">
          <p15:clr>
            <a:srgbClr val="A4A3A4"/>
          </p15:clr>
        </p15:guide>
        <p15:guide id="15" pos="133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664BA"/>
    <a:srgbClr val="A3BDDD"/>
    <a:srgbClr val="D8E3F0"/>
    <a:srgbClr val="C0D1E6"/>
    <a:srgbClr val="4D4D4D"/>
    <a:srgbClr val="336600"/>
    <a:srgbClr val="CC3300"/>
    <a:srgbClr val="6BA6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EB9631B5-78F2-41C9-869B-9F39066F8104}" styleName="Средний стиль 3 -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25" autoAdjust="0"/>
    <p:restoredTop sz="95163" autoAdjust="0"/>
  </p:normalViewPr>
  <p:slideViewPr>
    <p:cSldViewPr snapToGrid="0">
      <p:cViewPr varScale="1">
        <p:scale>
          <a:sx n="118" d="100"/>
          <a:sy n="118" d="100"/>
        </p:scale>
        <p:origin x="1680" y="192"/>
      </p:cViewPr>
      <p:guideLst>
        <p:guide orient="horz" pos="249"/>
        <p:guide orient="horz" pos="743"/>
        <p:guide orient="horz" pos="1243"/>
        <p:guide orient="horz" pos="3786"/>
        <p:guide orient="horz" pos="3635"/>
        <p:guide orient="horz" pos="3496"/>
        <p:guide orient="horz" pos="3376"/>
        <p:guide pos="240"/>
        <p:guide pos="4412"/>
        <p:guide pos="2206"/>
        <p:guide pos="2449"/>
        <p:guide pos="4654"/>
        <p:guide pos="5510"/>
        <p:guide pos="1134"/>
        <p:guide pos="13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51383934148374E-2"/>
          <c:y val="4.0693117357006682E-2"/>
          <c:w val="0.87076072683029571"/>
          <c:h val="0.791912715912916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бъем потребления ПБВ</c:v>
                </c:pt>
              </c:strCache>
            </c:strRef>
          </c:tx>
          <c:spPr>
            <a:solidFill>
              <a:srgbClr val="99CCFF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14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5</c:v>
                </c:pt>
                <c:pt idx="12">
                  <c:v>2030</c:v>
                </c:pt>
              </c:numCache>
            </c:numRef>
          </c:cat>
          <c:val>
            <c:numRef>
              <c:f>Лист1!$B$2:$B$14</c:f>
              <c:numCache>
                <c:formatCode>General</c:formatCode>
                <c:ptCount val="13"/>
                <c:pt idx="0">
                  <c:v>29.5</c:v>
                </c:pt>
                <c:pt idx="1">
                  <c:v>37.300000000000004</c:v>
                </c:pt>
                <c:pt idx="2">
                  <c:v>42</c:v>
                </c:pt>
                <c:pt idx="3">
                  <c:v>51</c:v>
                </c:pt>
                <c:pt idx="4">
                  <c:v>61</c:v>
                </c:pt>
                <c:pt idx="5">
                  <c:v>74</c:v>
                </c:pt>
                <c:pt idx="6">
                  <c:v>90</c:v>
                </c:pt>
                <c:pt idx="7">
                  <c:v>109</c:v>
                </c:pt>
                <c:pt idx="8">
                  <c:v>132</c:v>
                </c:pt>
                <c:pt idx="9">
                  <c:v>161</c:v>
                </c:pt>
                <c:pt idx="10">
                  <c:v>197</c:v>
                </c:pt>
                <c:pt idx="11">
                  <c:v>278</c:v>
                </c:pt>
                <c:pt idx="12">
                  <c:v>3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40-2B4E-8BE5-61ACE3BC24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axId val="42215296"/>
        <c:axId val="42216832"/>
      </c:barChart>
      <c:line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доля ПБВ в общем объеме потребления битумных материалов</c:v>
                </c:pt>
              </c:strCache>
            </c:strRef>
          </c:tx>
          <c:marker>
            <c:symbol val="circle"/>
            <c:size val="6"/>
          </c:marker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14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5</c:v>
                </c:pt>
                <c:pt idx="12">
                  <c:v>2030</c:v>
                </c:pt>
              </c:numCache>
            </c:numRef>
          </c:cat>
          <c:val>
            <c:numRef>
              <c:f>Лист1!$C$2:$C$14</c:f>
              <c:numCache>
                <c:formatCode>0.0</c:formatCode>
                <c:ptCount val="13"/>
                <c:pt idx="0">
                  <c:v>6.8748543463062152E-3</c:v>
                </c:pt>
                <c:pt idx="1">
                  <c:v>8.3582811967804066E-3</c:v>
                </c:pt>
                <c:pt idx="2">
                  <c:v>9.0494898500922735E-3</c:v>
                </c:pt>
                <c:pt idx="3">
                  <c:v>1.0566025237058291E-2</c:v>
                </c:pt>
                <c:pt idx="4">
                  <c:v>1.215172585709934E-2</c:v>
                </c:pt>
                <c:pt idx="5">
                  <c:v>1.4174459543274769E-2</c:v>
                </c:pt>
                <c:pt idx="6">
                  <c:v>1.65761611082995E-2</c:v>
                </c:pt>
                <c:pt idx="7">
                  <c:v>1.9303435478682206E-2</c:v>
                </c:pt>
                <c:pt idx="8">
                  <c:v>2.2477536019637027E-2</c:v>
                </c:pt>
                <c:pt idx="9">
                  <c:v>2.6361329393659236E-2</c:v>
                </c:pt>
                <c:pt idx="10">
                  <c:v>3.1015180903911192E-2</c:v>
                </c:pt>
                <c:pt idx="11">
                  <c:v>3.2963777490297698E-2</c:v>
                </c:pt>
                <c:pt idx="12">
                  <c:v>3.510638297872364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A40-2B4E-8BE5-61ACE3BC24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232448"/>
        <c:axId val="42230912"/>
      </c:lineChart>
      <c:catAx>
        <c:axId val="42215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50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42216832"/>
        <c:crosses val="autoZero"/>
        <c:auto val="1"/>
        <c:lblAlgn val="ctr"/>
        <c:lblOffset val="100"/>
        <c:noMultiLvlLbl val="0"/>
      </c:catAx>
      <c:valAx>
        <c:axId val="4221683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42215296"/>
        <c:crosses val="autoZero"/>
        <c:crossBetween val="between"/>
      </c:valAx>
      <c:valAx>
        <c:axId val="42230912"/>
        <c:scaling>
          <c:orientation val="minMax"/>
          <c:max val="4.0000000000000112E-2"/>
          <c:min val="0"/>
        </c:scaling>
        <c:delete val="0"/>
        <c:axPos val="r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100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42232448"/>
        <c:crosses val="max"/>
        <c:crossBetween val="between"/>
        <c:majorUnit val="1.0000000000000047E-2"/>
      </c:valAx>
      <c:catAx>
        <c:axId val="4223244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223091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7.7110113745573194E-2"/>
          <c:y val="0.91008030357738035"/>
          <c:w val="0.85806249999999951"/>
          <c:h val="6.4070093906703873E-2"/>
        </c:manualLayout>
      </c:layout>
      <c:overlay val="0"/>
      <c:txPr>
        <a:bodyPr/>
        <a:lstStyle/>
        <a:p>
          <a:pPr>
            <a:defRPr sz="1100">
              <a:latin typeface="Arial" pitchFamily="34" charset="0"/>
              <a:cs typeface="Arial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image" Target="../media/image16.png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image" Target="../media/image16.png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3F98297-7D00-418B-B157-FBAB77B6BE56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3EBD410-1EBA-452C-A498-092CDAAA40F9}" type="pres">
      <dgm:prSet presAssocID="{83F98297-7D00-418B-B157-FBAB77B6BE56}" presName="composite" presStyleCnt="0">
        <dgm:presLayoutVars>
          <dgm:chMax val="3"/>
          <dgm:animLvl val="lvl"/>
          <dgm:resizeHandles val="exact"/>
        </dgm:presLayoutVars>
      </dgm:prSet>
      <dgm:spPr/>
    </dgm:pt>
  </dgm:ptLst>
  <dgm:cxnLst>
    <dgm:cxn modelId="{F9B7F784-6D0F-4C8A-827B-3820FFE2C9D9}" type="presOf" srcId="{83F98297-7D00-418B-B157-FBAB77B6BE56}" destId="{D3EBD410-1EBA-452C-A498-092CDAAA40F9}" srcOrd="0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DFA2A0C-AFFF-41E1-AC80-A223FAE5CF15}" type="doc">
      <dgm:prSet loTypeId="urn:microsoft.com/office/officeart/2005/8/layout/list1" loCatId="list" qsTypeId="urn:microsoft.com/office/officeart/2005/8/quickstyle/simple5" qsCatId="simple" csTypeId="urn:microsoft.com/office/officeart/2005/8/colors/accent2_1" csCatId="accent2" phldr="1"/>
      <dgm:spPr/>
      <dgm:t>
        <a:bodyPr/>
        <a:lstStyle/>
        <a:p>
          <a:endParaRPr lang="ru-RU"/>
        </a:p>
      </dgm:t>
    </dgm:pt>
    <dgm:pt modelId="{827B7B90-C495-430A-9E1C-78CBCD859866}">
      <dgm:prSet custT="1"/>
      <dgm:spPr/>
      <dgm:t>
        <a:bodyPr/>
        <a:lstStyle/>
        <a:p>
          <a:pPr rtl="0"/>
          <a:r>
            <a:rPr lang="ru-RU" sz="1200" dirty="0">
              <a:solidFill>
                <a:srgbClr val="0B70B5"/>
              </a:solidFill>
            </a:rPr>
            <a:t>- продукт не подвергается дополнительной термической обработке, следовательно, эффект ‘старения’ (окисления) </a:t>
          </a:r>
          <a:r>
            <a:rPr lang="ru-RU" sz="1200">
              <a:solidFill>
                <a:srgbClr val="0B70B5"/>
              </a:solidFill>
            </a:rPr>
            <a:t>битума минимален  </a:t>
          </a:r>
          <a:endParaRPr lang="ru-RU" sz="1200" dirty="0">
            <a:solidFill>
              <a:srgbClr val="0B70B5"/>
            </a:solidFill>
          </a:endParaRPr>
        </a:p>
      </dgm:t>
    </dgm:pt>
    <dgm:pt modelId="{D170FC4E-4B1A-4272-B7D1-662E32F92144}" type="parTrans" cxnId="{80A36ADE-61C2-4A28-B3F8-A16D3EAAE68D}">
      <dgm:prSet/>
      <dgm:spPr/>
      <dgm:t>
        <a:bodyPr/>
        <a:lstStyle/>
        <a:p>
          <a:endParaRPr lang="ru-RU"/>
        </a:p>
      </dgm:t>
    </dgm:pt>
    <dgm:pt modelId="{47A45CA3-D19D-4302-BCC9-D3C68A83FD38}" type="sibTrans" cxnId="{80A36ADE-61C2-4A28-B3F8-A16D3EAAE68D}">
      <dgm:prSet/>
      <dgm:spPr/>
      <dgm:t>
        <a:bodyPr/>
        <a:lstStyle/>
        <a:p>
          <a:endParaRPr lang="ru-RU"/>
        </a:p>
      </dgm:t>
    </dgm:pt>
    <dgm:pt modelId="{5617F8BA-C38A-4052-90B8-B630877D2FB1}">
      <dgm:prSet custT="1"/>
      <dgm:spPr/>
      <dgm:t>
        <a:bodyPr/>
        <a:lstStyle/>
        <a:p>
          <a:pPr algn="just" rtl="0"/>
          <a:r>
            <a:rPr lang="ru-RU" sz="1200" dirty="0">
              <a:solidFill>
                <a:srgbClr val="0B70B5"/>
              </a:solidFill>
            </a:rPr>
            <a:t>- при распаковывании </a:t>
          </a:r>
          <a:r>
            <a:rPr lang="ru-RU" sz="1200" dirty="0" err="1">
              <a:solidFill>
                <a:srgbClr val="0B70B5"/>
              </a:solidFill>
            </a:rPr>
            <a:t>Кловертейнера</a:t>
          </a:r>
          <a:r>
            <a:rPr lang="ru-RU" sz="1200" dirty="0">
              <a:solidFill>
                <a:srgbClr val="0B70B5"/>
              </a:solidFill>
            </a:rPr>
            <a:t> исключаются потери продукта. Существует возможность переработки материалов упаковки</a:t>
          </a:r>
          <a:endParaRPr lang="ru-RU" sz="1100" dirty="0"/>
        </a:p>
      </dgm:t>
    </dgm:pt>
    <dgm:pt modelId="{CE190DC1-B8AB-41AB-A799-4F496F0ED82E}" type="parTrans" cxnId="{28BDB1DE-4208-491B-AA74-D26B3931B585}">
      <dgm:prSet/>
      <dgm:spPr/>
      <dgm:t>
        <a:bodyPr/>
        <a:lstStyle/>
        <a:p>
          <a:endParaRPr lang="ru-RU"/>
        </a:p>
      </dgm:t>
    </dgm:pt>
    <dgm:pt modelId="{C023E973-1FFB-4A55-A3D6-D40F70864F41}" type="sibTrans" cxnId="{28BDB1DE-4208-491B-AA74-D26B3931B585}">
      <dgm:prSet/>
      <dgm:spPr/>
      <dgm:t>
        <a:bodyPr/>
        <a:lstStyle/>
        <a:p>
          <a:endParaRPr lang="ru-RU"/>
        </a:p>
      </dgm:t>
    </dgm:pt>
    <dgm:pt modelId="{CC7394BA-181B-4CE7-A6F5-E5568A06E5AA}">
      <dgm:prSet custT="1"/>
      <dgm:spPr/>
      <dgm:t>
        <a:bodyPr/>
        <a:lstStyle/>
        <a:p>
          <a:pPr algn="just" rtl="0">
            <a:spcAft>
              <a:spcPts val="0"/>
            </a:spcAft>
          </a:pPr>
          <a:r>
            <a:rPr lang="ru-RU" sz="1200" dirty="0">
              <a:solidFill>
                <a:srgbClr val="0B70B5"/>
              </a:solidFill>
            </a:rPr>
            <a:t>- достигается бесперебойная работа асфальтобетонных заводов за счет организации складирования </a:t>
          </a:r>
          <a:r>
            <a:rPr lang="ru-RU" sz="1200" dirty="0" err="1">
              <a:solidFill>
                <a:srgbClr val="0B70B5"/>
              </a:solidFill>
            </a:rPr>
            <a:t>Кловертейнеров</a:t>
          </a:r>
          <a:r>
            <a:rPr lang="ru-RU" sz="1200" dirty="0">
              <a:solidFill>
                <a:srgbClr val="0B70B5"/>
              </a:solidFill>
            </a:rPr>
            <a:t> в несколько ярусов</a:t>
          </a:r>
        </a:p>
      </dgm:t>
    </dgm:pt>
    <dgm:pt modelId="{637A2451-863C-412B-B02B-B82896FA4B9B}" type="parTrans" cxnId="{41BFCC1C-B687-4BA4-A4BC-43D14B2C45D4}">
      <dgm:prSet/>
      <dgm:spPr/>
      <dgm:t>
        <a:bodyPr/>
        <a:lstStyle/>
        <a:p>
          <a:endParaRPr lang="ru-RU"/>
        </a:p>
      </dgm:t>
    </dgm:pt>
    <dgm:pt modelId="{7BA476E5-56EF-4116-8B33-0EE5DC8112E5}" type="sibTrans" cxnId="{41BFCC1C-B687-4BA4-A4BC-43D14B2C45D4}">
      <dgm:prSet/>
      <dgm:spPr/>
      <dgm:t>
        <a:bodyPr/>
        <a:lstStyle/>
        <a:p>
          <a:endParaRPr lang="ru-RU"/>
        </a:p>
      </dgm:t>
    </dgm:pt>
    <dgm:pt modelId="{34AF7A80-9C80-436D-877E-3F3A849F1ACD}">
      <dgm:prSet custT="1"/>
      <dgm:spPr/>
      <dgm:t>
        <a:bodyPr/>
        <a:lstStyle/>
        <a:p>
          <a:pPr rtl="0"/>
          <a:r>
            <a:rPr lang="ru-RU" sz="1200" b="1" dirty="0">
              <a:solidFill>
                <a:srgbClr val="0B70B5"/>
              </a:solidFill>
            </a:rPr>
            <a:t>Преимущества </a:t>
          </a:r>
          <a:r>
            <a:rPr lang="ru-RU" sz="1200" b="1" dirty="0" err="1">
              <a:solidFill>
                <a:srgbClr val="0B70B5"/>
              </a:solidFill>
            </a:rPr>
            <a:t>затаренных</a:t>
          </a:r>
          <a:r>
            <a:rPr lang="ru-RU" sz="1200" b="1" dirty="0">
              <a:solidFill>
                <a:srgbClr val="0B70B5"/>
              </a:solidFill>
            </a:rPr>
            <a:t> битумных материалов:</a:t>
          </a:r>
        </a:p>
      </dgm:t>
    </dgm:pt>
    <dgm:pt modelId="{7985C1AC-1030-4825-90E9-937D8F0D075A}" type="sibTrans" cxnId="{14E682CF-2A15-4C2D-8993-0FC9622D2187}">
      <dgm:prSet/>
      <dgm:spPr/>
      <dgm:t>
        <a:bodyPr/>
        <a:lstStyle/>
        <a:p>
          <a:endParaRPr lang="ru-RU"/>
        </a:p>
      </dgm:t>
    </dgm:pt>
    <dgm:pt modelId="{45B4F6A5-8DFC-4B10-92F4-391BE99A225A}" type="parTrans" cxnId="{14E682CF-2A15-4C2D-8993-0FC9622D2187}">
      <dgm:prSet/>
      <dgm:spPr/>
      <dgm:t>
        <a:bodyPr/>
        <a:lstStyle/>
        <a:p>
          <a:endParaRPr lang="ru-RU"/>
        </a:p>
      </dgm:t>
    </dgm:pt>
    <dgm:pt modelId="{00C2C389-33D6-4D36-8A2A-7C8224C77D66}" type="pres">
      <dgm:prSet presAssocID="{ADFA2A0C-AFFF-41E1-AC80-A223FAE5CF15}" presName="linear" presStyleCnt="0">
        <dgm:presLayoutVars>
          <dgm:dir/>
          <dgm:animLvl val="lvl"/>
          <dgm:resizeHandles val="exact"/>
        </dgm:presLayoutVars>
      </dgm:prSet>
      <dgm:spPr/>
    </dgm:pt>
    <dgm:pt modelId="{16218F2D-5C17-4A63-AE23-6FFE29CA966A}" type="pres">
      <dgm:prSet presAssocID="{34AF7A80-9C80-436D-877E-3F3A849F1ACD}" presName="parentLin" presStyleCnt="0"/>
      <dgm:spPr/>
    </dgm:pt>
    <dgm:pt modelId="{3AE65873-67CD-4965-B969-B22D2A252E02}" type="pres">
      <dgm:prSet presAssocID="{34AF7A80-9C80-436D-877E-3F3A849F1ACD}" presName="parentLeftMargin" presStyleLbl="node1" presStyleIdx="0" presStyleCnt="4"/>
      <dgm:spPr/>
    </dgm:pt>
    <dgm:pt modelId="{CC7E1A78-2784-4E6C-8060-38ED126EB7DC}" type="pres">
      <dgm:prSet presAssocID="{34AF7A80-9C80-436D-877E-3F3A849F1ACD}" presName="parentText" presStyleLbl="node1" presStyleIdx="0" presStyleCnt="4" custScaleX="142857">
        <dgm:presLayoutVars>
          <dgm:chMax val="0"/>
          <dgm:bulletEnabled val="1"/>
        </dgm:presLayoutVars>
      </dgm:prSet>
      <dgm:spPr/>
    </dgm:pt>
    <dgm:pt modelId="{A3835419-F8EF-40D2-9F69-B6E980682C8C}" type="pres">
      <dgm:prSet presAssocID="{34AF7A80-9C80-436D-877E-3F3A849F1ACD}" presName="negativeSpace" presStyleCnt="0"/>
      <dgm:spPr/>
    </dgm:pt>
    <dgm:pt modelId="{CC6109A4-FBF1-40DC-B5DB-2BDF4624D674}" type="pres">
      <dgm:prSet presAssocID="{34AF7A80-9C80-436D-877E-3F3A849F1ACD}" presName="childText" presStyleLbl="conFgAcc1" presStyleIdx="0" presStyleCnt="4">
        <dgm:presLayoutVars>
          <dgm:bulletEnabled val="1"/>
        </dgm:presLayoutVars>
      </dgm:prSet>
      <dgm:spPr>
        <a:solidFill>
          <a:srgbClr val="B8D9FE">
            <a:alpha val="90000"/>
          </a:srgbClr>
        </a:solidFill>
      </dgm:spPr>
    </dgm:pt>
    <dgm:pt modelId="{AB1CC01F-013A-461A-934C-9BE9A3D866A9}" type="pres">
      <dgm:prSet presAssocID="{7985C1AC-1030-4825-90E9-937D8F0D075A}" presName="spaceBetweenRectangles" presStyleCnt="0"/>
      <dgm:spPr/>
    </dgm:pt>
    <dgm:pt modelId="{643069D3-86B3-4D05-8151-B5DD7340EDBF}" type="pres">
      <dgm:prSet presAssocID="{827B7B90-C495-430A-9E1C-78CBCD859866}" presName="parentLin" presStyleCnt="0"/>
      <dgm:spPr/>
    </dgm:pt>
    <dgm:pt modelId="{AF7406DE-D7C5-4764-9B22-7C4806F7F5FF}" type="pres">
      <dgm:prSet presAssocID="{827B7B90-C495-430A-9E1C-78CBCD859866}" presName="parentLeftMargin" presStyleLbl="node1" presStyleIdx="0" presStyleCnt="4"/>
      <dgm:spPr/>
    </dgm:pt>
    <dgm:pt modelId="{6DE5BC5E-4E2F-429B-8891-C2F3F7BA279A}" type="pres">
      <dgm:prSet presAssocID="{827B7B90-C495-430A-9E1C-78CBCD859866}" presName="parentText" presStyleLbl="node1" presStyleIdx="1" presStyleCnt="4" custScaleX="142857" custScaleY="221555">
        <dgm:presLayoutVars>
          <dgm:chMax val="0"/>
          <dgm:bulletEnabled val="1"/>
        </dgm:presLayoutVars>
      </dgm:prSet>
      <dgm:spPr/>
    </dgm:pt>
    <dgm:pt modelId="{6D23D944-8412-4218-896D-E716BC73E413}" type="pres">
      <dgm:prSet presAssocID="{827B7B90-C495-430A-9E1C-78CBCD859866}" presName="negativeSpace" presStyleCnt="0"/>
      <dgm:spPr/>
    </dgm:pt>
    <dgm:pt modelId="{FF48550C-66B1-405B-A700-73A20649E328}" type="pres">
      <dgm:prSet presAssocID="{827B7B90-C495-430A-9E1C-78CBCD859866}" presName="childText" presStyleLbl="conFgAcc1" presStyleIdx="1" presStyleCnt="4">
        <dgm:presLayoutVars>
          <dgm:bulletEnabled val="1"/>
        </dgm:presLayoutVars>
      </dgm:prSet>
      <dgm:spPr>
        <a:solidFill>
          <a:srgbClr val="B8D9FE">
            <a:alpha val="90000"/>
          </a:srgbClr>
        </a:solidFill>
      </dgm:spPr>
    </dgm:pt>
    <dgm:pt modelId="{B057870D-5DB5-47FD-99FE-6759AF9455B3}" type="pres">
      <dgm:prSet presAssocID="{47A45CA3-D19D-4302-BCC9-D3C68A83FD38}" presName="spaceBetweenRectangles" presStyleCnt="0"/>
      <dgm:spPr/>
    </dgm:pt>
    <dgm:pt modelId="{74379FC8-A8A4-4502-825E-905332175BC8}" type="pres">
      <dgm:prSet presAssocID="{5617F8BA-C38A-4052-90B8-B630877D2FB1}" presName="parentLin" presStyleCnt="0"/>
      <dgm:spPr/>
    </dgm:pt>
    <dgm:pt modelId="{B3658477-BA32-446E-8395-9A7E8E9F5017}" type="pres">
      <dgm:prSet presAssocID="{5617F8BA-C38A-4052-90B8-B630877D2FB1}" presName="parentLeftMargin" presStyleLbl="node1" presStyleIdx="1" presStyleCnt="4"/>
      <dgm:spPr/>
    </dgm:pt>
    <dgm:pt modelId="{B4781E4C-1083-4036-A325-A2B17033BA39}" type="pres">
      <dgm:prSet presAssocID="{5617F8BA-C38A-4052-90B8-B630877D2FB1}" presName="parentText" presStyleLbl="node1" presStyleIdx="2" presStyleCnt="4" custScaleX="142857" custScaleY="221555">
        <dgm:presLayoutVars>
          <dgm:chMax val="0"/>
          <dgm:bulletEnabled val="1"/>
        </dgm:presLayoutVars>
      </dgm:prSet>
      <dgm:spPr/>
    </dgm:pt>
    <dgm:pt modelId="{8A4A4703-337D-4A63-AC92-E05F5FBC6C8E}" type="pres">
      <dgm:prSet presAssocID="{5617F8BA-C38A-4052-90B8-B630877D2FB1}" presName="negativeSpace" presStyleCnt="0"/>
      <dgm:spPr/>
    </dgm:pt>
    <dgm:pt modelId="{46AD3A4B-4495-4DC8-9C26-F2BD6CF64F1F}" type="pres">
      <dgm:prSet presAssocID="{5617F8BA-C38A-4052-90B8-B630877D2FB1}" presName="childText" presStyleLbl="conFgAcc1" presStyleIdx="2" presStyleCnt="4">
        <dgm:presLayoutVars>
          <dgm:bulletEnabled val="1"/>
        </dgm:presLayoutVars>
      </dgm:prSet>
      <dgm:spPr>
        <a:solidFill>
          <a:srgbClr val="B8D9FE">
            <a:alpha val="90000"/>
          </a:srgbClr>
        </a:solidFill>
      </dgm:spPr>
    </dgm:pt>
    <dgm:pt modelId="{EA91D878-39A8-41FC-8C9C-BE5EF9F566DC}" type="pres">
      <dgm:prSet presAssocID="{C023E973-1FFB-4A55-A3D6-D40F70864F41}" presName="spaceBetweenRectangles" presStyleCnt="0"/>
      <dgm:spPr/>
    </dgm:pt>
    <dgm:pt modelId="{211E5CA5-B046-4CA9-8B57-7B201C3C00A9}" type="pres">
      <dgm:prSet presAssocID="{CC7394BA-181B-4CE7-A6F5-E5568A06E5AA}" presName="parentLin" presStyleCnt="0"/>
      <dgm:spPr/>
    </dgm:pt>
    <dgm:pt modelId="{EADE896B-FF68-430B-B72A-0E1B325A7DA2}" type="pres">
      <dgm:prSet presAssocID="{CC7394BA-181B-4CE7-A6F5-E5568A06E5AA}" presName="parentLeftMargin" presStyleLbl="node1" presStyleIdx="2" presStyleCnt="4"/>
      <dgm:spPr/>
    </dgm:pt>
    <dgm:pt modelId="{2E31C8F1-48C3-436E-9D61-9B560A6752CE}" type="pres">
      <dgm:prSet presAssocID="{CC7394BA-181B-4CE7-A6F5-E5568A06E5AA}" presName="parentText" presStyleLbl="node1" presStyleIdx="3" presStyleCnt="4" custScaleX="142857" custScaleY="221555">
        <dgm:presLayoutVars>
          <dgm:chMax val="0"/>
          <dgm:bulletEnabled val="1"/>
        </dgm:presLayoutVars>
      </dgm:prSet>
      <dgm:spPr/>
    </dgm:pt>
    <dgm:pt modelId="{F43FE4BB-2432-4004-A76C-0495D58FCC30}" type="pres">
      <dgm:prSet presAssocID="{CC7394BA-181B-4CE7-A6F5-E5568A06E5AA}" presName="negativeSpace" presStyleCnt="0"/>
      <dgm:spPr/>
    </dgm:pt>
    <dgm:pt modelId="{0AD2C842-F61E-453D-8CAB-81AEC5F54261}" type="pres">
      <dgm:prSet presAssocID="{CC7394BA-181B-4CE7-A6F5-E5568A06E5AA}" presName="childText" presStyleLbl="conFgAcc1" presStyleIdx="3" presStyleCnt="4">
        <dgm:presLayoutVars>
          <dgm:bulletEnabled val="1"/>
        </dgm:presLayoutVars>
      </dgm:prSet>
      <dgm:spPr>
        <a:solidFill>
          <a:srgbClr val="B8D9FE">
            <a:alpha val="90000"/>
          </a:srgbClr>
        </a:solidFill>
      </dgm:spPr>
    </dgm:pt>
  </dgm:ptLst>
  <dgm:cxnLst>
    <dgm:cxn modelId="{E98D5105-7CC9-42D5-8640-79D78FFBDF55}" type="presOf" srcId="{34AF7A80-9C80-436D-877E-3F3A849F1ACD}" destId="{CC7E1A78-2784-4E6C-8060-38ED126EB7DC}" srcOrd="1" destOrd="0" presId="urn:microsoft.com/office/officeart/2005/8/layout/list1"/>
    <dgm:cxn modelId="{475E200D-EC34-4DAE-BEA9-850FBA192974}" type="presOf" srcId="{827B7B90-C495-430A-9E1C-78CBCD859866}" destId="{6DE5BC5E-4E2F-429B-8891-C2F3F7BA279A}" srcOrd="1" destOrd="0" presId="urn:microsoft.com/office/officeart/2005/8/layout/list1"/>
    <dgm:cxn modelId="{9B446017-0EFE-41C0-918D-C7E60C20E4E1}" type="presOf" srcId="{CC7394BA-181B-4CE7-A6F5-E5568A06E5AA}" destId="{EADE896B-FF68-430B-B72A-0E1B325A7DA2}" srcOrd="0" destOrd="0" presId="urn:microsoft.com/office/officeart/2005/8/layout/list1"/>
    <dgm:cxn modelId="{41BFCC1C-B687-4BA4-A4BC-43D14B2C45D4}" srcId="{ADFA2A0C-AFFF-41E1-AC80-A223FAE5CF15}" destId="{CC7394BA-181B-4CE7-A6F5-E5568A06E5AA}" srcOrd="3" destOrd="0" parTransId="{637A2451-863C-412B-B02B-B82896FA4B9B}" sibTransId="{7BA476E5-56EF-4116-8B33-0EE5DC8112E5}"/>
    <dgm:cxn modelId="{67A31132-EFD0-4375-8247-AEFC68EC68B6}" type="presOf" srcId="{5617F8BA-C38A-4052-90B8-B630877D2FB1}" destId="{B3658477-BA32-446E-8395-9A7E8E9F5017}" srcOrd="0" destOrd="0" presId="urn:microsoft.com/office/officeart/2005/8/layout/list1"/>
    <dgm:cxn modelId="{75272E53-D419-49FB-86F7-F2B3D1CDAA27}" type="presOf" srcId="{827B7B90-C495-430A-9E1C-78CBCD859866}" destId="{AF7406DE-D7C5-4764-9B22-7C4806F7F5FF}" srcOrd="0" destOrd="0" presId="urn:microsoft.com/office/officeart/2005/8/layout/list1"/>
    <dgm:cxn modelId="{9EB70877-2B9F-49C7-B4BC-A580E17EB3A2}" type="presOf" srcId="{ADFA2A0C-AFFF-41E1-AC80-A223FAE5CF15}" destId="{00C2C389-33D6-4D36-8A2A-7C8224C77D66}" srcOrd="0" destOrd="0" presId="urn:microsoft.com/office/officeart/2005/8/layout/list1"/>
    <dgm:cxn modelId="{944A537C-7CBA-4486-86A8-0D0143203F94}" type="presOf" srcId="{CC7394BA-181B-4CE7-A6F5-E5568A06E5AA}" destId="{2E31C8F1-48C3-436E-9D61-9B560A6752CE}" srcOrd="1" destOrd="0" presId="urn:microsoft.com/office/officeart/2005/8/layout/list1"/>
    <dgm:cxn modelId="{14E682CF-2A15-4C2D-8993-0FC9622D2187}" srcId="{ADFA2A0C-AFFF-41E1-AC80-A223FAE5CF15}" destId="{34AF7A80-9C80-436D-877E-3F3A849F1ACD}" srcOrd="0" destOrd="0" parTransId="{45B4F6A5-8DFC-4B10-92F4-391BE99A225A}" sibTransId="{7985C1AC-1030-4825-90E9-937D8F0D075A}"/>
    <dgm:cxn modelId="{80A36ADE-61C2-4A28-B3F8-A16D3EAAE68D}" srcId="{ADFA2A0C-AFFF-41E1-AC80-A223FAE5CF15}" destId="{827B7B90-C495-430A-9E1C-78CBCD859866}" srcOrd="1" destOrd="0" parTransId="{D170FC4E-4B1A-4272-B7D1-662E32F92144}" sibTransId="{47A45CA3-D19D-4302-BCC9-D3C68A83FD38}"/>
    <dgm:cxn modelId="{28BDB1DE-4208-491B-AA74-D26B3931B585}" srcId="{ADFA2A0C-AFFF-41E1-AC80-A223FAE5CF15}" destId="{5617F8BA-C38A-4052-90B8-B630877D2FB1}" srcOrd="2" destOrd="0" parTransId="{CE190DC1-B8AB-41AB-A799-4F496F0ED82E}" sibTransId="{C023E973-1FFB-4A55-A3D6-D40F70864F41}"/>
    <dgm:cxn modelId="{A4BA55E2-9402-4732-8613-7831258B3D68}" type="presOf" srcId="{5617F8BA-C38A-4052-90B8-B630877D2FB1}" destId="{B4781E4C-1083-4036-A325-A2B17033BA39}" srcOrd="1" destOrd="0" presId="urn:microsoft.com/office/officeart/2005/8/layout/list1"/>
    <dgm:cxn modelId="{4768D4F9-4FE9-4F8D-AA28-A86954734B62}" type="presOf" srcId="{34AF7A80-9C80-436D-877E-3F3A849F1ACD}" destId="{3AE65873-67CD-4965-B969-B22D2A252E02}" srcOrd="0" destOrd="0" presId="urn:microsoft.com/office/officeart/2005/8/layout/list1"/>
    <dgm:cxn modelId="{85E2EB7A-AC42-4D46-BB52-2191E6FC6CA5}" type="presParOf" srcId="{00C2C389-33D6-4D36-8A2A-7C8224C77D66}" destId="{16218F2D-5C17-4A63-AE23-6FFE29CA966A}" srcOrd="0" destOrd="0" presId="urn:microsoft.com/office/officeart/2005/8/layout/list1"/>
    <dgm:cxn modelId="{721E2A35-78D6-4AD4-8200-79AB1C344080}" type="presParOf" srcId="{16218F2D-5C17-4A63-AE23-6FFE29CA966A}" destId="{3AE65873-67CD-4965-B969-B22D2A252E02}" srcOrd="0" destOrd="0" presId="urn:microsoft.com/office/officeart/2005/8/layout/list1"/>
    <dgm:cxn modelId="{E8C329F6-F26B-4D3E-8ACF-8C5228CBFA4B}" type="presParOf" srcId="{16218F2D-5C17-4A63-AE23-6FFE29CA966A}" destId="{CC7E1A78-2784-4E6C-8060-38ED126EB7DC}" srcOrd="1" destOrd="0" presId="urn:microsoft.com/office/officeart/2005/8/layout/list1"/>
    <dgm:cxn modelId="{E519A551-95E5-46D8-AB75-6126FF23996E}" type="presParOf" srcId="{00C2C389-33D6-4D36-8A2A-7C8224C77D66}" destId="{A3835419-F8EF-40D2-9F69-B6E980682C8C}" srcOrd="1" destOrd="0" presId="urn:microsoft.com/office/officeart/2005/8/layout/list1"/>
    <dgm:cxn modelId="{7CF54F88-6DA4-4194-9A0C-03BDAAAB1371}" type="presParOf" srcId="{00C2C389-33D6-4D36-8A2A-7C8224C77D66}" destId="{CC6109A4-FBF1-40DC-B5DB-2BDF4624D674}" srcOrd="2" destOrd="0" presId="urn:microsoft.com/office/officeart/2005/8/layout/list1"/>
    <dgm:cxn modelId="{18673AB4-FA2B-47E3-8090-F7337EC8FAA2}" type="presParOf" srcId="{00C2C389-33D6-4D36-8A2A-7C8224C77D66}" destId="{AB1CC01F-013A-461A-934C-9BE9A3D866A9}" srcOrd="3" destOrd="0" presId="urn:microsoft.com/office/officeart/2005/8/layout/list1"/>
    <dgm:cxn modelId="{3698B3E2-DA4B-4C71-BDDF-93F09BFF95DD}" type="presParOf" srcId="{00C2C389-33D6-4D36-8A2A-7C8224C77D66}" destId="{643069D3-86B3-4D05-8151-B5DD7340EDBF}" srcOrd="4" destOrd="0" presId="urn:microsoft.com/office/officeart/2005/8/layout/list1"/>
    <dgm:cxn modelId="{93CC70B0-44FD-48D0-8373-35A01CC79697}" type="presParOf" srcId="{643069D3-86B3-4D05-8151-B5DD7340EDBF}" destId="{AF7406DE-D7C5-4764-9B22-7C4806F7F5FF}" srcOrd="0" destOrd="0" presId="urn:microsoft.com/office/officeart/2005/8/layout/list1"/>
    <dgm:cxn modelId="{FA6DC73F-3BED-437C-9759-FA4831C2BAD5}" type="presParOf" srcId="{643069D3-86B3-4D05-8151-B5DD7340EDBF}" destId="{6DE5BC5E-4E2F-429B-8891-C2F3F7BA279A}" srcOrd="1" destOrd="0" presId="urn:microsoft.com/office/officeart/2005/8/layout/list1"/>
    <dgm:cxn modelId="{D21EC930-05FD-4794-BCDE-A33817336DDF}" type="presParOf" srcId="{00C2C389-33D6-4D36-8A2A-7C8224C77D66}" destId="{6D23D944-8412-4218-896D-E716BC73E413}" srcOrd="5" destOrd="0" presId="urn:microsoft.com/office/officeart/2005/8/layout/list1"/>
    <dgm:cxn modelId="{33612385-D513-4BFA-990D-089EB44BDBC8}" type="presParOf" srcId="{00C2C389-33D6-4D36-8A2A-7C8224C77D66}" destId="{FF48550C-66B1-405B-A700-73A20649E328}" srcOrd="6" destOrd="0" presId="urn:microsoft.com/office/officeart/2005/8/layout/list1"/>
    <dgm:cxn modelId="{EF058627-21E5-4D78-B6F2-B517E9EA4E96}" type="presParOf" srcId="{00C2C389-33D6-4D36-8A2A-7C8224C77D66}" destId="{B057870D-5DB5-47FD-99FE-6759AF9455B3}" srcOrd="7" destOrd="0" presId="urn:microsoft.com/office/officeart/2005/8/layout/list1"/>
    <dgm:cxn modelId="{29064E88-E51C-49AF-B3A4-81D0D54D3FC7}" type="presParOf" srcId="{00C2C389-33D6-4D36-8A2A-7C8224C77D66}" destId="{74379FC8-A8A4-4502-825E-905332175BC8}" srcOrd="8" destOrd="0" presId="urn:microsoft.com/office/officeart/2005/8/layout/list1"/>
    <dgm:cxn modelId="{62D079CA-C3CD-48FF-AB6F-B33E25445AF4}" type="presParOf" srcId="{74379FC8-A8A4-4502-825E-905332175BC8}" destId="{B3658477-BA32-446E-8395-9A7E8E9F5017}" srcOrd="0" destOrd="0" presId="urn:microsoft.com/office/officeart/2005/8/layout/list1"/>
    <dgm:cxn modelId="{2088430E-B902-48D8-9084-237191559823}" type="presParOf" srcId="{74379FC8-A8A4-4502-825E-905332175BC8}" destId="{B4781E4C-1083-4036-A325-A2B17033BA39}" srcOrd="1" destOrd="0" presId="urn:microsoft.com/office/officeart/2005/8/layout/list1"/>
    <dgm:cxn modelId="{1B10F95A-615B-43E5-BC69-3C04B6E1E6D5}" type="presParOf" srcId="{00C2C389-33D6-4D36-8A2A-7C8224C77D66}" destId="{8A4A4703-337D-4A63-AC92-E05F5FBC6C8E}" srcOrd="9" destOrd="0" presId="urn:microsoft.com/office/officeart/2005/8/layout/list1"/>
    <dgm:cxn modelId="{CF773EFC-4E25-4648-9BD6-F8BCE447040C}" type="presParOf" srcId="{00C2C389-33D6-4D36-8A2A-7C8224C77D66}" destId="{46AD3A4B-4495-4DC8-9C26-F2BD6CF64F1F}" srcOrd="10" destOrd="0" presId="urn:microsoft.com/office/officeart/2005/8/layout/list1"/>
    <dgm:cxn modelId="{C15A523E-695E-4869-81FF-EC43EFB175D9}" type="presParOf" srcId="{00C2C389-33D6-4D36-8A2A-7C8224C77D66}" destId="{EA91D878-39A8-41FC-8C9C-BE5EF9F566DC}" srcOrd="11" destOrd="0" presId="urn:microsoft.com/office/officeart/2005/8/layout/list1"/>
    <dgm:cxn modelId="{448FD6BE-2C35-4ECD-A771-53E41C519E3D}" type="presParOf" srcId="{00C2C389-33D6-4D36-8A2A-7C8224C77D66}" destId="{211E5CA5-B046-4CA9-8B57-7B201C3C00A9}" srcOrd="12" destOrd="0" presId="urn:microsoft.com/office/officeart/2005/8/layout/list1"/>
    <dgm:cxn modelId="{AF603CF6-02F9-4E07-B12B-CB1B7C2A3E92}" type="presParOf" srcId="{211E5CA5-B046-4CA9-8B57-7B201C3C00A9}" destId="{EADE896B-FF68-430B-B72A-0E1B325A7DA2}" srcOrd="0" destOrd="0" presId="urn:microsoft.com/office/officeart/2005/8/layout/list1"/>
    <dgm:cxn modelId="{AD47603B-C8FF-49D1-9482-D29AF8F9AD80}" type="presParOf" srcId="{211E5CA5-B046-4CA9-8B57-7B201C3C00A9}" destId="{2E31C8F1-48C3-436E-9D61-9B560A6752CE}" srcOrd="1" destOrd="0" presId="urn:microsoft.com/office/officeart/2005/8/layout/list1"/>
    <dgm:cxn modelId="{73B9652D-AE82-46C7-A077-FAAEB751B115}" type="presParOf" srcId="{00C2C389-33D6-4D36-8A2A-7C8224C77D66}" destId="{F43FE4BB-2432-4004-A76C-0495D58FCC30}" srcOrd="13" destOrd="0" presId="urn:microsoft.com/office/officeart/2005/8/layout/list1"/>
    <dgm:cxn modelId="{C494FCBB-0A64-4E3E-BECE-DFD505E7C100}" type="presParOf" srcId="{00C2C389-33D6-4D36-8A2A-7C8224C77D66}" destId="{0AD2C842-F61E-453D-8CAB-81AEC5F54261}" srcOrd="14" destOrd="0" presId="urn:microsoft.com/office/officeart/2005/8/layout/list1"/>
  </dgm:cxnLst>
  <dgm:bg/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56811CF-6C6F-4505-8222-8A6EEE8BA2BC}" type="doc">
      <dgm:prSet loTypeId="urn:microsoft.com/office/officeart/2008/layout/VerticalCurvedList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6C63715-CA69-45A6-B9AE-6724D87D4D5C}">
      <dgm:prSet custT="1"/>
      <dgm:spPr/>
      <dgm:t>
        <a:bodyPr/>
        <a:lstStyle/>
        <a:p>
          <a:pPr rtl="0"/>
          <a:r>
            <a:rPr lang="ru-RU" sz="1400" b="1" dirty="0"/>
            <a:t>Автомобильная дорога «Сургут-Салехард, участок </a:t>
          </a:r>
          <a:r>
            <a:rPr lang="ru-RU" sz="1400" b="1" dirty="0" err="1"/>
            <a:t>Пурпе-Пуровск</a:t>
          </a:r>
          <a:r>
            <a:rPr lang="ru-RU" sz="1400" b="1" dirty="0"/>
            <a:t>»</a:t>
          </a:r>
        </a:p>
      </dgm:t>
    </dgm:pt>
    <dgm:pt modelId="{B254AEC2-A8A6-4470-B436-67B90E610C4A}" type="parTrans" cxnId="{E9D9FD6E-23C8-4035-B0A3-CD38DC6DC62F}">
      <dgm:prSet/>
      <dgm:spPr/>
      <dgm:t>
        <a:bodyPr/>
        <a:lstStyle/>
        <a:p>
          <a:endParaRPr lang="ru-RU" sz="1400"/>
        </a:p>
      </dgm:t>
    </dgm:pt>
    <dgm:pt modelId="{7E11D6A0-2642-4CE9-982F-8D3967230052}" type="sibTrans" cxnId="{E9D9FD6E-23C8-4035-B0A3-CD38DC6DC62F}">
      <dgm:prSet/>
      <dgm:spPr/>
      <dgm:t>
        <a:bodyPr/>
        <a:lstStyle/>
        <a:p>
          <a:endParaRPr lang="ru-RU" sz="1400"/>
        </a:p>
      </dgm:t>
    </dgm:pt>
    <dgm:pt modelId="{9677501C-0A25-41AF-AB4A-52F06FE4B228}">
      <dgm:prSet custT="1"/>
      <dgm:spPr/>
      <dgm:t>
        <a:bodyPr/>
        <a:lstStyle/>
        <a:p>
          <a:pPr rtl="0"/>
          <a:r>
            <a:rPr lang="ru-RU" sz="1400" b="1" dirty="0"/>
            <a:t>Северный объезд г. Новосибирска</a:t>
          </a:r>
        </a:p>
      </dgm:t>
    </dgm:pt>
    <dgm:pt modelId="{D2B5319A-52DD-4938-8538-D11694A2B194}" type="parTrans" cxnId="{B13E2C17-4166-49ED-A05E-0175C4E0BAD9}">
      <dgm:prSet/>
      <dgm:spPr/>
      <dgm:t>
        <a:bodyPr/>
        <a:lstStyle/>
        <a:p>
          <a:endParaRPr lang="ru-RU" sz="1400"/>
        </a:p>
      </dgm:t>
    </dgm:pt>
    <dgm:pt modelId="{A5EC5C32-6170-4B15-99C9-A808D7A01243}" type="sibTrans" cxnId="{B13E2C17-4166-49ED-A05E-0175C4E0BAD9}">
      <dgm:prSet/>
      <dgm:spPr/>
      <dgm:t>
        <a:bodyPr/>
        <a:lstStyle/>
        <a:p>
          <a:endParaRPr lang="ru-RU" sz="1400"/>
        </a:p>
      </dgm:t>
    </dgm:pt>
    <dgm:pt modelId="{83526EAA-9B8D-418E-BF82-E24C8CB414E7}">
      <dgm:prSet custT="1"/>
      <dgm:spPr/>
      <dgm:t>
        <a:bodyPr/>
        <a:lstStyle/>
        <a:p>
          <a:pPr rtl="0"/>
          <a:r>
            <a:rPr lang="ru-RU" sz="1400" b="1" dirty="0" err="1"/>
            <a:t>г.Омск</a:t>
          </a:r>
          <a:r>
            <a:rPr lang="ru-RU" sz="1400" b="1" dirty="0"/>
            <a:t>, </a:t>
          </a:r>
          <a:r>
            <a:rPr lang="ru-RU" sz="1400" b="1" dirty="0" err="1"/>
            <a:t>ул.Омская</a:t>
          </a:r>
          <a:endParaRPr lang="ru-RU" sz="1400" b="1" dirty="0"/>
        </a:p>
      </dgm:t>
    </dgm:pt>
    <dgm:pt modelId="{E012826D-879B-4DB8-85AB-A4D635EF3637}" type="parTrans" cxnId="{66F7C289-DF55-403B-A6E2-19B424B24750}">
      <dgm:prSet/>
      <dgm:spPr/>
      <dgm:t>
        <a:bodyPr/>
        <a:lstStyle/>
        <a:p>
          <a:endParaRPr lang="ru-RU" sz="1400"/>
        </a:p>
      </dgm:t>
    </dgm:pt>
    <dgm:pt modelId="{927E49B8-2C11-4F75-AD59-524E0C8ED0FE}" type="sibTrans" cxnId="{66F7C289-DF55-403B-A6E2-19B424B24750}">
      <dgm:prSet/>
      <dgm:spPr/>
      <dgm:t>
        <a:bodyPr/>
        <a:lstStyle/>
        <a:p>
          <a:endParaRPr lang="ru-RU" sz="1400"/>
        </a:p>
      </dgm:t>
    </dgm:pt>
    <dgm:pt modelId="{6008B46B-F852-421C-B874-690C28896C6C}">
      <dgm:prSet custT="1"/>
      <dgm:spPr/>
      <dgm:t>
        <a:bodyPr/>
        <a:lstStyle/>
        <a:p>
          <a:pPr rtl="0"/>
          <a:r>
            <a:rPr lang="ru-RU" sz="1400" b="1" dirty="0"/>
            <a:t>Автомобильная дорога А 349 «Барнаул-Рубцовск-до границы с Республикой Казахстан на Семипалатинск»</a:t>
          </a:r>
        </a:p>
      </dgm:t>
    </dgm:pt>
    <dgm:pt modelId="{ED96C2E3-9FA2-48A3-AE71-F1582E2C3277}" type="parTrans" cxnId="{9C9D5631-C553-4E1E-B990-B56B918232F8}">
      <dgm:prSet/>
      <dgm:spPr/>
      <dgm:t>
        <a:bodyPr/>
        <a:lstStyle/>
        <a:p>
          <a:endParaRPr lang="ru-RU" sz="1400"/>
        </a:p>
      </dgm:t>
    </dgm:pt>
    <dgm:pt modelId="{89D1F4F8-8099-4D82-AC30-CD931AD56EEE}" type="sibTrans" cxnId="{9C9D5631-C553-4E1E-B990-B56B918232F8}">
      <dgm:prSet/>
      <dgm:spPr/>
      <dgm:t>
        <a:bodyPr/>
        <a:lstStyle/>
        <a:p>
          <a:endParaRPr lang="ru-RU" sz="1400"/>
        </a:p>
      </dgm:t>
    </dgm:pt>
    <dgm:pt modelId="{D4189C03-DD76-40E8-A973-CBFCBE6359DC}">
      <dgm:prSet custT="1"/>
      <dgm:spPr/>
      <dgm:t>
        <a:bodyPr/>
        <a:lstStyle/>
        <a:p>
          <a:pPr rtl="0"/>
          <a:r>
            <a:rPr lang="ru-RU" sz="1400" b="1" dirty="0"/>
            <a:t>Автомобильная дорога 1Р402 «Тюмень-Ялуторовск</a:t>
          </a:r>
        </a:p>
        <a:p>
          <a:pPr rtl="0"/>
          <a:r>
            <a:rPr lang="ru-RU" sz="1400" b="1" dirty="0"/>
            <a:t>-Ишим-Омск» </a:t>
          </a:r>
        </a:p>
      </dgm:t>
    </dgm:pt>
    <dgm:pt modelId="{8C0C63F7-2DBA-411F-A4B9-97EEBD36DFE3}" type="parTrans" cxnId="{771174A6-85B6-4272-81AE-B76652FDB68C}">
      <dgm:prSet/>
      <dgm:spPr/>
      <dgm:t>
        <a:bodyPr/>
        <a:lstStyle/>
        <a:p>
          <a:endParaRPr lang="ru-RU" sz="1400"/>
        </a:p>
      </dgm:t>
    </dgm:pt>
    <dgm:pt modelId="{C6893B83-649E-44BC-A56B-5E99F3200C84}" type="sibTrans" cxnId="{771174A6-85B6-4272-81AE-B76652FDB68C}">
      <dgm:prSet/>
      <dgm:spPr/>
      <dgm:t>
        <a:bodyPr/>
        <a:lstStyle/>
        <a:p>
          <a:endParaRPr lang="ru-RU" sz="1400"/>
        </a:p>
      </dgm:t>
    </dgm:pt>
    <dgm:pt modelId="{920E6BE8-FF35-4A7A-B723-674EAD306A18}">
      <dgm:prSet custT="1"/>
      <dgm:spPr/>
      <dgm:t>
        <a:bodyPr/>
        <a:lstStyle/>
        <a:p>
          <a:pPr rtl="0"/>
          <a:r>
            <a:rPr lang="ru-RU" sz="1400" b="1" dirty="0"/>
            <a:t>ПГТ "Крутая Горка" (Омская область)</a:t>
          </a:r>
        </a:p>
      </dgm:t>
    </dgm:pt>
    <dgm:pt modelId="{0F94C6D6-4E6A-4EDB-B7BB-0437226759DB}" type="parTrans" cxnId="{2A5A47BA-B509-4AA8-BF2E-BD1D671A69CA}">
      <dgm:prSet/>
      <dgm:spPr/>
      <dgm:t>
        <a:bodyPr/>
        <a:lstStyle/>
        <a:p>
          <a:endParaRPr lang="ru-RU" sz="1400"/>
        </a:p>
      </dgm:t>
    </dgm:pt>
    <dgm:pt modelId="{CC896A4B-DC0C-470F-AB28-A3D0772F218D}" type="sibTrans" cxnId="{2A5A47BA-B509-4AA8-BF2E-BD1D671A69CA}">
      <dgm:prSet/>
      <dgm:spPr/>
      <dgm:t>
        <a:bodyPr/>
        <a:lstStyle/>
        <a:p>
          <a:endParaRPr lang="ru-RU" sz="1400"/>
        </a:p>
      </dgm:t>
    </dgm:pt>
    <dgm:pt modelId="{09BAFF99-46CB-4715-B197-388F51FF540F}">
      <dgm:prSet custT="1"/>
      <dgm:spPr/>
      <dgm:t>
        <a:bodyPr/>
        <a:lstStyle/>
        <a:p>
          <a:pPr rtl="0"/>
          <a:r>
            <a:rPr lang="ru-RU" sz="1400" b="1" dirty="0"/>
            <a:t>Федеральная автомобильная дорога М56 "Колыма"</a:t>
          </a:r>
        </a:p>
      </dgm:t>
    </dgm:pt>
    <dgm:pt modelId="{FDAD0E77-711D-43DD-8F86-F7B20AB948D5}" type="parTrans" cxnId="{21A2BC3E-2834-48DF-8630-3901AAC000FE}">
      <dgm:prSet/>
      <dgm:spPr/>
      <dgm:t>
        <a:bodyPr/>
        <a:lstStyle/>
        <a:p>
          <a:endParaRPr lang="ru-RU" sz="1400"/>
        </a:p>
      </dgm:t>
    </dgm:pt>
    <dgm:pt modelId="{3E94043F-9272-438A-9FD4-7E71A7552BEB}" type="sibTrans" cxnId="{21A2BC3E-2834-48DF-8630-3901AAC000FE}">
      <dgm:prSet/>
      <dgm:spPr/>
      <dgm:t>
        <a:bodyPr/>
        <a:lstStyle/>
        <a:p>
          <a:endParaRPr lang="ru-RU" sz="1400"/>
        </a:p>
      </dgm:t>
    </dgm:pt>
    <dgm:pt modelId="{0756998E-095D-4794-A557-9D8E5FB278E6}" type="pres">
      <dgm:prSet presAssocID="{E56811CF-6C6F-4505-8222-8A6EEE8BA2BC}" presName="Name0" presStyleCnt="0">
        <dgm:presLayoutVars>
          <dgm:chMax val="7"/>
          <dgm:chPref val="7"/>
          <dgm:dir/>
        </dgm:presLayoutVars>
      </dgm:prSet>
      <dgm:spPr/>
    </dgm:pt>
    <dgm:pt modelId="{0A1E77C0-1916-4FC1-B315-9289F8568E88}" type="pres">
      <dgm:prSet presAssocID="{E56811CF-6C6F-4505-8222-8A6EEE8BA2BC}" presName="Name1" presStyleCnt="0"/>
      <dgm:spPr/>
    </dgm:pt>
    <dgm:pt modelId="{2C754E0A-4884-4C0B-B8A1-CF407FF9EF88}" type="pres">
      <dgm:prSet presAssocID="{E56811CF-6C6F-4505-8222-8A6EEE8BA2BC}" presName="cycle" presStyleCnt="0"/>
      <dgm:spPr/>
    </dgm:pt>
    <dgm:pt modelId="{CD070A69-DF5D-4C26-BD74-7F3F48564825}" type="pres">
      <dgm:prSet presAssocID="{E56811CF-6C6F-4505-8222-8A6EEE8BA2BC}" presName="srcNode" presStyleLbl="node1" presStyleIdx="0" presStyleCnt="7"/>
      <dgm:spPr/>
    </dgm:pt>
    <dgm:pt modelId="{54BBEB6B-36D5-4103-A8A1-7348C6EB823C}" type="pres">
      <dgm:prSet presAssocID="{E56811CF-6C6F-4505-8222-8A6EEE8BA2BC}" presName="conn" presStyleLbl="parChTrans1D2" presStyleIdx="0" presStyleCnt="1"/>
      <dgm:spPr/>
    </dgm:pt>
    <dgm:pt modelId="{AB209AB4-BB3D-4DC3-BC0A-619CE1B1763D}" type="pres">
      <dgm:prSet presAssocID="{E56811CF-6C6F-4505-8222-8A6EEE8BA2BC}" presName="extraNode" presStyleLbl="node1" presStyleIdx="0" presStyleCnt="7"/>
      <dgm:spPr/>
    </dgm:pt>
    <dgm:pt modelId="{DD762B58-915E-416E-9F7B-3B6009750B1F}" type="pres">
      <dgm:prSet presAssocID="{E56811CF-6C6F-4505-8222-8A6EEE8BA2BC}" presName="dstNode" presStyleLbl="node1" presStyleIdx="0" presStyleCnt="7"/>
      <dgm:spPr/>
    </dgm:pt>
    <dgm:pt modelId="{D65D9D3D-54C2-4928-894F-3693B1520BE2}" type="pres">
      <dgm:prSet presAssocID="{16C63715-CA69-45A6-B9AE-6724D87D4D5C}" presName="text_1" presStyleLbl="node1" presStyleIdx="0" presStyleCnt="7" custScaleY="177378">
        <dgm:presLayoutVars>
          <dgm:bulletEnabled val="1"/>
        </dgm:presLayoutVars>
      </dgm:prSet>
      <dgm:spPr/>
    </dgm:pt>
    <dgm:pt modelId="{1CFA998B-48E4-445D-AF3F-174717A2D54E}" type="pres">
      <dgm:prSet presAssocID="{16C63715-CA69-45A6-B9AE-6724D87D4D5C}" presName="accent_1" presStyleCnt="0"/>
      <dgm:spPr/>
    </dgm:pt>
    <dgm:pt modelId="{32421395-E733-4FA2-9DE9-2BF8D8ACC3ED}" type="pres">
      <dgm:prSet presAssocID="{16C63715-CA69-45A6-B9AE-6724D87D4D5C}" presName="accentRepeatNode" presStyleLbl="solidFgAcc1" presStyleIdx="0" presStyleCnt="7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991644E5-F760-4E1B-808B-297A3D5D8095}" type="pres">
      <dgm:prSet presAssocID="{9677501C-0A25-41AF-AB4A-52F06FE4B228}" presName="text_2" presStyleLbl="node1" presStyleIdx="1" presStyleCnt="7" custScaleY="148242">
        <dgm:presLayoutVars>
          <dgm:bulletEnabled val="1"/>
        </dgm:presLayoutVars>
      </dgm:prSet>
      <dgm:spPr/>
    </dgm:pt>
    <dgm:pt modelId="{DDFCEFAC-4BC5-4844-B1B1-E6F6F4E7AC3D}" type="pres">
      <dgm:prSet presAssocID="{9677501C-0A25-41AF-AB4A-52F06FE4B228}" presName="accent_2" presStyleCnt="0"/>
      <dgm:spPr/>
    </dgm:pt>
    <dgm:pt modelId="{9CFE27F4-F188-46F6-869A-F56DFF0B677A}" type="pres">
      <dgm:prSet presAssocID="{9677501C-0A25-41AF-AB4A-52F06FE4B228}" presName="accentRepeatNode" presStyleLbl="solidFgAcc1" presStyleIdx="1" presStyleCnt="7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ED902A94-D9FF-41AC-BC8A-3CF7428250BD}" type="pres">
      <dgm:prSet presAssocID="{83526EAA-9B8D-418E-BF82-E24C8CB414E7}" presName="text_3" presStyleLbl="node1" presStyleIdx="2" presStyleCnt="7">
        <dgm:presLayoutVars>
          <dgm:bulletEnabled val="1"/>
        </dgm:presLayoutVars>
      </dgm:prSet>
      <dgm:spPr/>
    </dgm:pt>
    <dgm:pt modelId="{F0A37E3B-4775-4DE3-A880-D5007BD3E053}" type="pres">
      <dgm:prSet presAssocID="{83526EAA-9B8D-418E-BF82-E24C8CB414E7}" presName="accent_3" presStyleCnt="0"/>
      <dgm:spPr/>
    </dgm:pt>
    <dgm:pt modelId="{6ABDB202-E0DA-4FBC-B2AD-19F09940618F}" type="pres">
      <dgm:prSet presAssocID="{83526EAA-9B8D-418E-BF82-E24C8CB414E7}" presName="accentRepeatNode" presStyleLbl="solidFgAcc1" presStyleIdx="2" presStyleCnt="7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B7E2110D-2E9C-4C8D-BF56-FBAFDEB44FEC}" type="pres">
      <dgm:prSet presAssocID="{6008B46B-F852-421C-B874-690C28896C6C}" presName="text_4" presStyleLbl="node1" presStyleIdx="3" presStyleCnt="7" custScaleY="156403">
        <dgm:presLayoutVars>
          <dgm:bulletEnabled val="1"/>
        </dgm:presLayoutVars>
      </dgm:prSet>
      <dgm:spPr/>
    </dgm:pt>
    <dgm:pt modelId="{5EB1475F-572F-4472-BE38-BD20911FAD35}" type="pres">
      <dgm:prSet presAssocID="{6008B46B-F852-421C-B874-690C28896C6C}" presName="accent_4" presStyleCnt="0"/>
      <dgm:spPr/>
    </dgm:pt>
    <dgm:pt modelId="{1CC56086-AB16-4F08-9FFB-8BB21E6E8459}" type="pres">
      <dgm:prSet presAssocID="{6008B46B-F852-421C-B874-690C28896C6C}" presName="accentRepeatNode" presStyleLbl="solidFgAcc1" presStyleIdx="3" presStyleCnt="7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</dgm:pt>
    <dgm:pt modelId="{9985E851-B289-4BD2-A198-E7237FA45E3F}" type="pres">
      <dgm:prSet presAssocID="{D4189C03-DD76-40E8-A973-CBFCBE6359DC}" presName="text_5" presStyleLbl="node1" presStyleIdx="4" presStyleCnt="7" custScaleY="172462">
        <dgm:presLayoutVars>
          <dgm:bulletEnabled val="1"/>
        </dgm:presLayoutVars>
      </dgm:prSet>
      <dgm:spPr/>
    </dgm:pt>
    <dgm:pt modelId="{F83F3F5F-5579-4294-AF60-4B5F5ADC44EF}" type="pres">
      <dgm:prSet presAssocID="{D4189C03-DD76-40E8-A973-CBFCBE6359DC}" presName="accent_5" presStyleCnt="0"/>
      <dgm:spPr/>
    </dgm:pt>
    <dgm:pt modelId="{3114DD44-8217-4565-9B31-01F496F13C33}" type="pres">
      <dgm:prSet presAssocID="{D4189C03-DD76-40E8-A973-CBFCBE6359DC}" presName="accentRepeatNode" presStyleLbl="solidFgAcc1" presStyleIdx="4" presStyleCnt="7"/>
      <dgm:spPr>
        <a:blipFill rotWithShape="0">
          <a:blip xmlns:r="http://schemas.openxmlformats.org/officeDocument/2006/relationships" r:embed="rId5"/>
          <a:stretch>
            <a:fillRect/>
          </a:stretch>
        </a:blipFill>
      </dgm:spPr>
    </dgm:pt>
    <dgm:pt modelId="{5965DA9C-2553-4115-90E8-2619F7DD7492}" type="pres">
      <dgm:prSet presAssocID="{920E6BE8-FF35-4A7A-B723-674EAD306A18}" presName="text_6" presStyleLbl="node1" presStyleIdx="5" presStyleCnt="7" custScaleY="136704">
        <dgm:presLayoutVars>
          <dgm:bulletEnabled val="1"/>
        </dgm:presLayoutVars>
      </dgm:prSet>
      <dgm:spPr/>
    </dgm:pt>
    <dgm:pt modelId="{F65BAC0E-735E-4811-8F10-81D4D514C1AE}" type="pres">
      <dgm:prSet presAssocID="{920E6BE8-FF35-4A7A-B723-674EAD306A18}" presName="accent_6" presStyleCnt="0"/>
      <dgm:spPr/>
    </dgm:pt>
    <dgm:pt modelId="{1EAD2041-4F1B-435E-BA52-856EFC78A893}" type="pres">
      <dgm:prSet presAssocID="{920E6BE8-FF35-4A7A-B723-674EAD306A18}" presName="accentRepeatNode" presStyleLbl="solidFgAcc1" presStyleIdx="5" presStyleCnt="7"/>
      <dgm:spPr>
        <a:blipFill rotWithShape="0">
          <a:blip xmlns:r="http://schemas.openxmlformats.org/officeDocument/2006/relationships" r:embed="rId6"/>
          <a:stretch>
            <a:fillRect/>
          </a:stretch>
        </a:blipFill>
      </dgm:spPr>
    </dgm:pt>
    <dgm:pt modelId="{89995737-92B4-4A1C-82BF-2DE20D56BD6B}" type="pres">
      <dgm:prSet presAssocID="{09BAFF99-46CB-4715-B197-388F51FF540F}" presName="text_7" presStyleLbl="node1" presStyleIdx="6" presStyleCnt="7" custScaleY="152764">
        <dgm:presLayoutVars>
          <dgm:bulletEnabled val="1"/>
        </dgm:presLayoutVars>
      </dgm:prSet>
      <dgm:spPr/>
    </dgm:pt>
    <dgm:pt modelId="{DF5EF456-7ADE-47AD-BAE3-D00B678456C4}" type="pres">
      <dgm:prSet presAssocID="{09BAFF99-46CB-4715-B197-388F51FF540F}" presName="accent_7" presStyleCnt="0"/>
      <dgm:spPr/>
    </dgm:pt>
    <dgm:pt modelId="{1FFCC112-E322-40C9-9198-59A7A4337169}" type="pres">
      <dgm:prSet presAssocID="{09BAFF99-46CB-4715-B197-388F51FF540F}" presName="accentRepeatNode" presStyleLbl="solidFgAcc1" presStyleIdx="6" presStyleCnt="7"/>
      <dgm:spPr>
        <a:blipFill rotWithShape="0">
          <a:blip xmlns:r="http://schemas.openxmlformats.org/officeDocument/2006/relationships" r:embed="rId7"/>
          <a:stretch>
            <a:fillRect/>
          </a:stretch>
        </a:blipFill>
      </dgm:spPr>
    </dgm:pt>
  </dgm:ptLst>
  <dgm:cxnLst>
    <dgm:cxn modelId="{18566701-F0C8-472A-9E33-A3D362E007C2}" type="presOf" srcId="{16C63715-CA69-45A6-B9AE-6724D87D4D5C}" destId="{D65D9D3D-54C2-4928-894F-3693B1520BE2}" srcOrd="0" destOrd="0" presId="urn:microsoft.com/office/officeart/2008/layout/VerticalCurvedList"/>
    <dgm:cxn modelId="{89A50509-D9C8-4155-A7E4-DD9D5B5960A3}" type="presOf" srcId="{7E11D6A0-2642-4CE9-982F-8D3967230052}" destId="{54BBEB6B-36D5-4103-A8A1-7348C6EB823C}" srcOrd="0" destOrd="0" presId="urn:microsoft.com/office/officeart/2008/layout/VerticalCurvedList"/>
    <dgm:cxn modelId="{B13E2C17-4166-49ED-A05E-0175C4E0BAD9}" srcId="{E56811CF-6C6F-4505-8222-8A6EEE8BA2BC}" destId="{9677501C-0A25-41AF-AB4A-52F06FE4B228}" srcOrd="1" destOrd="0" parTransId="{D2B5319A-52DD-4938-8538-D11694A2B194}" sibTransId="{A5EC5C32-6170-4B15-99C9-A808D7A01243}"/>
    <dgm:cxn modelId="{0E52F82A-2DAC-4720-B69E-0CC204394657}" type="presOf" srcId="{920E6BE8-FF35-4A7A-B723-674EAD306A18}" destId="{5965DA9C-2553-4115-90E8-2619F7DD7492}" srcOrd="0" destOrd="0" presId="urn:microsoft.com/office/officeart/2008/layout/VerticalCurvedList"/>
    <dgm:cxn modelId="{9C9D5631-C553-4E1E-B990-B56B918232F8}" srcId="{E56811CF-6C6F-4505-8222-8A6EEE8BA2BC}" destId="{6008B46B-F852-421C-B874-690C28896C6C}" srcOrd="3" destOrd="0" parTransId="{ED96C2E3-9FA2-48A3-AE71-F1582E2C3277}" sibTransId="{89D1F4F8-8099-4D82-AC30-CD931AD56EEE}"/>
    <dgm:cxn modelId="{21A2BC3E-2834-48DF-8630-3901AAC000FE}" srcId="{E56811CF-6C6F-4505-8222-8A6EEE8BA2BC}" destId="{09BAFF99-46CB-4715-B197-388F51FF540F}" srcOrd="6" destOrd="0" parTransId="{FDAD0E77-711D-43DD-8F86-F7B20AB948D5}" sibTransId="{3E94043F-9272-438A-9FD4-7E71A7552BEB}"/>
    <dgm:cxn modelId="{7A341E4C-9357-46C4-B499-7D97AF1F9466}" type="presOf" srcId="{D4189C03-DD76-40E8-A973-CBFCBE6359DC}" destId="{9985E851-B289-4BD2-A198-E7237FA45E3F}" srcOrd="0" destOrd="0" presId="urn:microsoft.com/office/officeart/2008/layout/VerticalCurvedList"/>
    <dgm:cxn modelId="{413E696A-AC47-4087-A641-D9FA7315C600}" type="presOf" srcId="{83526EAA-9B8D-418E-BF82-E24C8CB414E7}" destId="{ED902A94-D9FF-41AC-BC8A-3CF7428250BD}" srcOrd="0" destOrd="0" presId="urn:microsoft.com/office/officeart/2008/layout/VerticalCurvedList"/>
    <dgm:cxn modelId="{E9D9FD6E-23C8-4035-B0A3-CD38DC6DC62F}" srcId="{E56811CF-6C6F-4505-8222-8A6EEE8BA2BC}" destId="{16C63715-CA69-45A6-B9AE-6724D87D4D5C}" srcOrd="0" destOrd="0" parTransId="{B254AEC2-A8A6-4470-B436-67B90E610C4A}" sibTransId="{7E11D6A0-2642-4CE9-982F-8D3967230052}"/>
    <dgm:cxn modelId="{66F7C289-DF55-403B-A6E2-19B424B24750}" srcId="{E56811CF-6C6F-4505-8222-8A6EEE8BA2BC}" destId="{83526EAA-9B8D-418E-BF82-E24C8CB414E7}" srcOrd="2" destOrd="0" parTransId="{E012826D-879B-4DB8-85AB-A4D635EF3637}" sibTransId="{927E49B8-2C11-4F75-AD59-524E0C8ED0FE}"/>
    <dgm:cxn modelId="{0C4548A1-2594-482D-884E-A59DEC862AF0}" type="presOf" srcId="{9677501C-0A25-41AF-AB4A-52F06FE4B228}" destId="{991644E5-F760-4E1B-808B-297A3D5D8095}" srcOrd="0" destOrd="0" presId="urn:microsoft.com/office/officeart/2008/layout/VerticalCurvedList"/>
    <dgm:cxn modelId="{771174A6-85B6-4272-81AE-B76652FDB68C}" srcId="{E56811CF-6C6F-4505-8222-8A6EEE8BA2BC}" destId="{D4189C03-DD76-40E8-A973-CBFCBE6359DC}" srcOrd="4" destOrd="0" parTransId="{8C0C63F7-2DBA-411F-A4B9-97EEBD36DFE3}" sibTransId="{C6893B83-649E-44BC-A56B-5E99F3200C84}"/>
    <dgm:cxn modelId="{2A5A47BA-B509-4AA8-BF2E-BD1D671A69CA}" srcId="{E56811CF-6C6F-4505-8222-8A6EEE8BA2BC}" destId="{920E6BE8-FF35-4A7A-B723-674EAD306A18}" srcOrd="5" destOrd="0" parTransId="{0F94C6D6-4E6A-4EDB-B7BB-0437226759DB}" sibTransId="{CC896A4B-DC0C-470F-AB28-A3D0772F218D}"/>
    <dgm:cxn modelId="{C5FB29DC-A423-4A76-A824-CE93E9121D6F}" type="presOf" srcId="{E56811CF-6C6F-4505-8222-8A6EEE8BA2BC}" destId="{0756998E-095D-4794-A557-9D8E5FB278E6}" srcOrd="0" destOrd="0" presId="urn:microsoft.com/office/officeart/2008/layout/VerticalCurvedList"/>
    <dgm:cxn modelId="{AF7DDEDF-AFED-4519-AFA3-E1DB1E066A15}" type="presOf" srcId="{6008B46B-F852-421C-B874-690C28896C6C}" destId="{B7E2110D-2E9C-4C8D-BF56-FBAFDEB44FEC}" srcOrd="0" destOrd="0" presId="urn:microsoft.com/office/officeart/2008/layout/VerticalCurvedList"/>
    <dgm:cxn modelId="{B81ED3E3-A39B-4CD9-96F5-47A646742860}" type="presOf" srcId="{09BAFF99-46CB-4715-B197-388F51FF540F}" destId="{89995737-92B4-4A1C-82BF-2DE20D56BD6B}" srcOrd="0" destOrd="0" presId="urn:microsoft.com/office/officeart/2008/layout/VerticalCurvedList"/>
    <dgm:cxn modelId="{1C7B2A17-CF13-43FD-9DB4-8DC7BD8949E5}" type="presParOf" srcId="{0756998E-095D-4794-A557-9D8E5FB278E6}" destId="{0A1E77C0-1916-4FC1-B315-9289F8568E88}" srcOrd="0" destOrd="0" presId="urn:microsoft.com/office/officeart/2008/layout/VerticalCurvedList"/>
    <dgm:cxn modelId="{CB560EE0-F41D-4D64-83C5-08E721AE2C45}" type="presParOf" srcId="{0A1E77C0-1916-4FC1-B315-9289F8568E88}" destId="{2C754E0A-4884-4C0B-B8A1-CF407FF9EF88}" srcOrd="0" destOrd="0" presId="urn:microsoft.com/office/officeart/2008/layout/VerticalCurvedList"/>
    <dgm:cxn modelId="{78889FA3-85AA-4FCF-914E-0DE92720B589}" type="presParOf" srcId="{2C754E0A-4884-4C0B-B8A1-CF407FF9EF88}" destId="{CD070A69-DF5D-4C26-BD74-7F3F48564825}" srcOrd="0" destOrd="0" presId="urn:microsoft.com/office/officeart/2008/layout/VerticalCurvedList"/>
    <dgm:cxn modelId="{0874A996-F52D-4E8F-93A2-82F78AAC3216}" type="presParOf" srcId="{2C754E0A-4884-4C0B-B8A1-CF407FF9EF88}" destId="{54BBEB6B-36D5-4103-A8A1-7348C6EB823C}" srcOrd="1" destOrd="0" presId="urn:microsoft.com/office/officeart/2008/layout/VerticalCurvedList"/>
    <dgm:cxn modelId="{50BEA709-40FC-4084-9649-1B0580AF8267}" type="presParOf" srcId="{2C754E0A-4884-4C0B-B8A1-CF407FF9EF88}" destId="{AB209AB4-BB3D-4DC3-BC0A-619CE1B1763D}" srcOrd="2" destOrd="0" presId="urn:microsoft.com/office/officeart/2008/layout/VerticalCurvedList"/>
    <dgm:cxn modelId="{B8C6CAFB-506B-43B7-845E-F98467B9A116}" type="presParOf" srcId="{2C754E0A-4884-4C0B-B8A1-CF407FF9EF88}" destId="{DD762B58-915E-416E-9F7B-3B6009750B1F}" srcOrd="3" destOrd="0" presId="urn:microsoft.com/office/officeart/2008/layout/VerticalCurvedList"/>
    <dgm:cxn modelId="{D76F357D-96E8-4029-8D7E-C0EF52E7D69D}" type="presParOf" srcId="{0A1E77C0-1916-4FC1-B315-9289F8568E88}" destId="{D65D9D3D-54C2-4928-894F-3693B1520BE2}" srcOrd="1" destOrd="0" presId="urn:microsoft.com/office/officeart/2008/layout/VerticalCurvedList"/>
    <dgm:cxn modelId="{A76B7837-6BFF-4AD3-8C12-4FBC7746366C}" type="presParOf" srcId="{0A1E77C0-1916-4FC1-B315-9289F8568E88}" destId="{1CFA998B-48E4-445D-AF3F-174717A2D54E}" srcOrd="2" destOrd="0" presId="urn:microsoft.com/office/officeart/2008/layout/VerticalCurvedList"/>
    <dgm:cxn modelId="{3D5C2651-11DA-4704-A76E-389CC50294BA}" type="presParOf" srcId="{1CFA998B-48E4-445D-AF3F-174717A2D54E}" destId="{32421395-E733-4FA2-9DE9-2BF8D8ACC3ED}" srcOrd="0" destOrd="0" presId="urn:microsoft.com/office/officeart/2008/layout/VerticalCurvedList"/>
    <dgm:cxn modelId="{09E73E23-3B94-49BF-82C3-09D0E7A47A28}" type="presParOf" srcId="{0A1E77C0-1916-4FC1-B315-9289F8568E88}" destId="{991644E5-F760-4E1B-808B-297A3D5D8095}" srcOrd="3" destOrd="0" presId="urn:microsoft.com/office/officeart/2008/layout/VerticalCurvedList"/>
    <dgm:cxn modelId="{C7F8AB62-A31A-458F-AB94-8672ED995BE4}" type="presParOf" srcId="{0A1E77C0-1916-4FC1-B315-9289F8568E88}" destId="{DDFCEFAC-4BC5-4844-B1B1-E6F6F4E7AC3D}" srcOrd="4" destOrd="0" presId="urn:microsoft.com/office/officeart/2008/layout/VerticalCurvedList"/>
    <dgm:cxn modelId="{FB240EDD-07BC-43B8-9AA3-BF92383C82D7}" type="presParOf" srcId="{DDFCEFAC-4BC5-4844-B1B1-E6F6F4E7AC3D}" destId="{9CFE27F4-F188-46F6-869A-F56DFF0B677A}" srcOrd="0" destOrd="0" presId="urn:microsoft.com/office/officeart/2008/layout/VerticalCurvedList"/>
    <dgm:cxn modelId="{7BB80843-5A53-4216-89D3-B6928BE2EC68}" type="presParOf" srcId="{0A1E77C0-1916-4FC1-B315-9289F8568E88}" destId="{ED902A94-D9FF-41AC-BC8A-3CF7428250BD}" srcOrd="5" destOrd="0" presId="urn:microsoft.com/office/officeart/2008/layout/VerticalCurvedList"/>
    <dgm:cxn modelId="{C75A605B-6978-4442-AE7D-0DC82D18A054}" type="presParOf" srcId="{0A1E77C0-1916-4FC1-B315-9289F8568E88}" destId="{F0A37E3B-4775-4DE3-A880-D5007BD3E053}" srcOrd="6" destOrd="0" presId="urn:microsoft.com/office/officeart/2008/layout/VerticalCurvedList"/>
    <dgm:cxn modelId="{54C1670A-DB47-4F43-9C6E-7EB6E23C70B0}" type="presParOf" srcId="{F0A37E3B-4775-4DE3-A880-D5007BD3E053}" destId="{6ABDB202-E0DA-4FBC-B2AD-19F09940618F}" srcOrd="0" destOrd="0" presId="urn:microsoft.com/office/officeart/2008/layout/VerticalCurvedList"/>
    <dgm:cxn modelId="{51D120C6-C4F9-4A39-8865-58A739584720}" type="presParOf" srcId="{0A1E77C0-1916-4FC1-B315-9289F8568E88}" destId="{B7E2110D-2E9C-4C8D-BF56-FBAFDEB44FEC}" srcOrd="7" destOrd="0" presId="urn:microsoft.com/office/officeart/2008/layout/VerticalCurvedList"/>
    <dgm:cxn modelId="{79EBE137-C151-46DB-8C18-83E701E7F2E5}" type="presParOf" srcId="{0A1E77C0-1916-4FC1-B315-9289F8568E88}" destId="{5EB1475F-572F-4472-BE38-BD20911FAD35}" srcOrd="8" destOrd="0" presId="urn:microsoft.com/office/officeart/2008/layout/VerticalCurvedList"/>
    <dgm:cxn modelId="{D39E7D42-FD82-4CC7-B8E9-A0AB024106EB}" type="presParOf" srcId="{5EB1475F-572F-4472-BE38-BD20911FAD35}" destId="{1CC56086-AB16-4F08-9FFB-8BB21E6E8459}" srcOrd="0" destOrd="0" presId="urn:microsoft.com/office/officeart/2008/layout/VerticalCurvedList"/>
    <dgm:cxn modelId="{64B18613-CC71-477C-B3AF-8E67E1EDE009}" type="presParOf" srcId="{0A1E77C0-1916-4FC1-B315-9289F8568E88}" destId="{9985E851-B289-4BD2-A198-E7237FA45E3F}" srcOrd="9" destOrd="0" presId="urn:microsoft.com/office/officeart/2008/layout/VerticalCurvedList"/>
    <dgm:cxn modelId="{AF5F6B15-7757-48AB-AF3D-E6750B8BC698}" type="presParOf" srcId="{0A1E77C0-1916-4FC1-B315-9289F8568E88}" destId="{F83F3F5F-5579-4294-AF60-4B5F5ADC44EF}" srcOrd="10" destOrd="0" presId="urn:microsoft.com/office/officeart/2008/layout/VerticalCurvedList"/>
    <dgm:cxn modelId="{EB1A7B77-C582-4467-BAD6-8075C91F3B6A}" type="presParOf" srcId="{F83F3F5F-5579-4294-AF60-4B5F5ADC44EF}" destId="{3114DD44-8217-4565-9B31-01F496F13C33}" srcOrd="0" destOrd="0" presId="urn:microsoft.com/office/officeart/2008/layout/VerticalCurvedList"/>
    <dgm:cxn modelId="{B815DFBE-A17F-4F19-8D2B-7123C3D9D83D}" type="presParOf" srcId="{0A1E77C0-1916-4FC1-B315-9289F8568E88}" destId="{5965DA9C-2553-4115-90E8-2619F7DD7492}" srcOrd="11" destOrd="0" presId="urn:microsoft.com/office/officeart/2008/layout/VerticalCurvedList"/>
    <dgm:cxn modelId="{6A9D3000-4EC8-49B8-B8D8-B981F90978A7}" type="presParOf" srcId="{0A1E77C0-1916-4FC1-B315-9289F8568E88}" destId="{F65BAC0E-735E-4811-8F10-81D4D514C1AE}" srcOrd="12" destOrd="0" presId="urn:microsoft.com/office/officeart/2008/layout/VerticalCurvedList"/>
    <dgm:cxn modelId="{A95A82F3-6FCA-48F5-A50A-9C8DA74E15D1}" type="presParOf" srcId="{F65BAC0E-735E-4811-8F10-81D4D514C1AE}" destId="{1EAD2041-4F1B-435E-BA52-856EFC78A893}" srcOrd="0" destOrd="0" presId="urn:microsoft.com/office/officeart/2008/layout/VerticalCurvedList"/>
    <dgm:cxn modelId="{5B6B8789-5A38-489A-9B03-F4A85B1780C0}" type="presParOf" srcId="{0A1E77C0-1916-4FC1-B315-9289F8568E88}" destId="{89995737-92B4-4A1C-82BF-2DE20D56BD6B}" srcOrd="13" destOrd="0" presId="urn:microsoft.com/office/officeart/2008/layout/VerticalCurvedList"/>
    <dgm:cxn modelId="{10429C40-DB6A-41CB-8B04-9B339A56BACF}" type="presParOf" srcId="{0A1E77C0-1916-4FC1-B315-9289F8568E88}" destId="{DF5EF456-7ADE-47AD-BAE3-D00B678456C4}" srcOrd="14" destOrd="0" presId="urn:microsoft.com/office/officeart/2008/layout/VerticalCurvedList"/>
    <dgm:cxn modelId="{1F5AE8D1-F634-4846-992F-7840B807C7BC}" type="presParOf" srcId="{DF5EF456-7ADE-47AD-BAE3-D00B678456C4}" destId="{1FFCC112-E322-40C9-9198-59A7A4337169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6109A4-FBF1-40DC-B5DB-2BDF4624D674}">
      <dsp:nvSpPr>
        <dsp:cNvPr id="0" name=""/>
        <dsp:cNvSpPr/>
      </dsp:nvSpPr>
      <dsp:spPr>
        <a:xfrm>
          <a:off x="0" y="224081"/>
          <a:ext cx="4076633" cy="252000"/>
        </a:xfrm>
        <a:prstGeom prst="rect">
          <a:avLst/>
        </a:prstGeom>
        <a:solidFill>
          <a:srgbClr val="B8D9FE">
            <a:alpha val="90000"/>
          </a:srgb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CC7E1A78-2784-4E6C-8060-38ED126EB7DC}">
      <dsp:nvSpPr>
        <dsp:cNvPr id="0" name=""/>
        <dsp:cNvSpPr/>
      </dsp:nvSpPr>
      <dsp:spPr>
        <a:xfrm>
          <a:off x="194077" y="76481"/>
          <a:ext cx="3881555" cy="29520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07861" tIns="0" rIns="107861" bIns="0" numCol="1" spcCol="1270" anchor="ctr" anchorCtr="0">
          <a:noAutofit/>
        </a:bodyPr>
        <a:lstStyle/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rgbClr val="0B70B5"/>
              </a:solidFill>
            </a:rPr>
            <a:t>Преимущества </a:t>
          </a:r>
          <a:r>
            <a:rPr lang="ru-RU" sz="1200" b="1" kern="1200" dirty="0" err="1">
              <a:solidFill>
                <a:srgbClr val="0B70B5"/>
              </a:solidFill>
            </a:rPr>
            <a:t>затаренных</a:t>
          </a:r>
          <a:r>
            <a:rPr lang="ru-RU" sz="1200" b="1" kern="1200" dirty="0">
              <a:solidFill>
                <a:srgbClr val="0B70B5"/>
              </a:solidFill>
            </a:rPr>
            <a:t> битумных материалов:</a:t>
          </a:r>
        </a:p>
      </dsp:txBody>
      <dsp:txXfrm>
        <a:off x="208487" y="90891"/>
        <a:ext cx="3852735" cy="266380"/>
      </dsp:txXfrm>
    </dsp:sp>
    <dsp:sp modelId="{FF48550C-66B1-405B-A700-73A20649E328}">
      <dsp:nvSpPr>
        <dsp:cNvPr id="0" name=""/>
        <dsp:cNvSpPr/>
      </dsp:nvSpPr>
      <dsp:spPr>
        <a:xfrm>
          <a:off x="0" y="1036511"/>
          <a:ext cx="4076633" cy="252000"/>
        </a:xfrm>
        <a:prstGeom prst="rect">
          <a:avLst/>
        </a:prstGeom>
        <a:solidFill>
          <a:srgbClr val="B8D9FE">
            <a:alpha val="90000"/>
          </a:srgb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DE5BC5E-4E2F-429B-8891-C2F3F7BA279A}">
      <dsp:nvSpPr>
        <dsp:cNvPr id="0" name=""/>
        <dsp:cNvSpPr/>
      </dsp:nvSpPr>
      <dsp:spPr>
        <a:xfrm>
          <a:off x="194077" y="530081"/>
          <a:ext cx="3881555" cy="65403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07861" tIns="0" rIns="107861" bIns="0" numCol="1" spcCol="1270" anchor="ctr" anchorCtr="0">
          <a:noAutofit/>
        </a:bodyPr>
        <a:lstStyle/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>
              <a:solidFill>
                <a:srgbClr val="0B70B5"/>
              </a:solidFill>
            </a:rPr>
            <a:t>- продукт не подвергается дополнительной термической обработке, следовательно, эффект ‘старения’ (окисления) </a:t>
          </a:r>
          <a:r>
            <a:rPr lang="ru-RU" sz="1200" kern="1200">
              <a:solidFill>
                <a:srgbClr val="0B70B5"/>
              </a:solidFill>
            </a:rPr>
            <a:t>битума минимален  </a:t>
          </a:r>
          <a:endParaRPr lang="ru-RU" sz="1200" kern="1200" dirty="0">
            <a:solidFill>
              <a:srgbClr val="0B70B5"/>
            </a:solidFill>
          </a:endParaRPr>
        </a:p>
      </dsp:txBody>
      <dsp:txXfrm>
        <a:off x="226004" y="562008"/>
        <a:ext cx="3817701" cy="590176"/>
      </dsp:txXfrm>
    </dsp:sp>
    <dsp:sp modelId="{46AD3A4B-4495-4DC8-9C26-F2BD6CF64F1F}">
      <dsp:nvSpPr>
        <dsp:cNvPr id="0" name=""/>
        <dsp:cNvSpPr/>
      </dsp:nvSpPr>
      <dsp:spPr>
        <a:xfrm>
          <a:off x="0" y="1848942"/>
          <a:ext cx="4076633" cy="252000"/>
        </a:xfrm>
        <a:prstGeom prst="rect">
          <a:avLst/>
        </a:prstGeom>
        <a:solidFill>
          <a:srgbClr val="B8D9FE">
            <a:alpha val="90000"/>
          </a:srgb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4781E4C-1083-4036-A325-A2B17033BA39}">
      <dsp:nvSpPr>
        <dsp:cNvPr id="0" name=""/>
        <dsp:cNvSpPr/>
      </dsp:nvSpPr>
      <dsp:spPr>
        <a:xfrm>
          <a:off x="194077" y="1342511"/>
          <a:ext cx="3881555" cy="65403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07861" tIns="0" rIns="107861" bIns="0" numCol="1" spcCol="1270" anchor="ctr" anchorCtr="0">
          <a:noAutofit/>
        </a:bodyPr>
        <a:lstStyle/>
        <a:p>
          <a:pPr marL="0" lvl="0" indent="0" algn="just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>
              <a:solidFill>
                <a:srgbClr val="0B70B5"/>
              </a:solidFill>
            </a:rPr>
            <a:t>- при распаковывании </a:t>
          </a:r>
          <a:r>
            <a:rPr lang="ru-RU" sz="1200" kern="1200" dirty="0" err="1">
              <a:solidFill>
                <a:srgbClr val="0B70B5"/>
              </a:solidFill>
            </a:rPr>
            <a:t>Кловертейнера</a:t>
          </a:r>
          <a:r>
            <a:rPr lang="ru-RU" sz="1200" kern="1200" dirty="0">
              <a:solidFill>
                <a:srgbClr val="0B70B5"/>
              </a:solidFill>
            </a:rPr>
            <a:t> исключаются потери продукта. Существует возможность переработки материалов упаковки</a:t>
          </a:r>
          <a:endParaRPr lang="ru-RU" sz="1100" kern="1200" dirty="0"/>
        </a:p>
      </dsp:txBody>
      <dsp:txXfrm>
        <a:off x="226004" y="1374438"/>
        <a:ext cx="3817701" cy="590176"/>
      </dsp:txXfrm>
    </dsp:sp>
    <dsp:sp modelId="{0AD2C842-F61E-453D-8CAB-81AEC5F54261}">
      <dsp:nvSpPr>
        <dsp:cNvPr id="0" name=""/>
        <dsp:cNvSpPr/>
      </dsp:nvSpPr>
      <dsp:spPr>
        <a:xfrm>
          <a:off x="0" y="2661372"/>
          <a:ext cx="4076633" cy="252000"/>
        </a:xfrm>
        <a:prstGeom prst="rect">
          <a:avLst/>
        </a:prstGeom>
        <a:solidFill>
          <a:srgbClr val="B8D9FE">
            <a:alpha val="90000"/>
          </a:srgb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E31C8F1-48C3-436E-9D61-9B560A6752CE}">
      <dsp:nvSpPr>
        <dsp:cNvPr id="0" name=""/>
        <dsp:cNvSpPr/>
      </dsp:nvSpPr>
      <dsp:spPr>
        <a:xfrm>
          <a:off x="194077" y="2154942"/>
          <a:ext cx="3881555" cy="65403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07861" tIns="0" rIns="107861" bIns="0" numCol="1" spcCol="1270" anchor="ctr" anchorCtr="0">
          <a:noAutofit/>
        </a:bodyPr>
        <a:lstStyle/>
        <a:p>
          <a:pPr marL="0" lvl="0" indent="0" algn="just" defTabSz="533400" rtl="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kern="1200" dirty="0">
              <a:solidFill>
                <a:srgbClr val="0B70B5"/>
              </a:solidFill>
            </a:rPr>
            <a:t>- достигается бесперебойная работа асфальтобетонных заводов за счет организации складирования </a:t>
          </a:r>
          <a:r>
            <a:rPr lang="ru-RU" sz="1200" kern="1200" dirty="0" err="1">
              <a:solidFill>
                <a:srgbClr val="0B70B5"/>
              </a:solidFill>
            </a:rPr>
            <a:t>Кловертейнеров</a:t>
          </a:r>
          <a:r>
            <a:rPr lang="ru-RU" sz="1200" kern="1200" dirty="0">
              <a:solidFill>
                <a:srgbClr val="0B70B5"/>
              </a:solidFill>
            </a:rPr>
            <a:t> в несколько ярусов</a:t>
          </a:r>
        </a:p>
      </dsp:txBody>
      <dsp:txXfrm>
        <a:off x="226004" y="2186869"/>
        <a:ext cx="3817701" cy="59017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4BBEB6B-36D5-4103-A8A1-7348C6EB823C}">
      <dsp:nvSpPr>
        <dsp:cNvPr id="0" name=""/>
        <dsp:cNvSpPr/>
      </dsp:nvSpPr>
      <dsp:spPr>
        <a:xfrm>
          <a:off x="-4734761" y="-704520"/>
          <a:ext cx="5641102" cy="5641102"/>
        </a:xfrm>
        <a:prstGeom prst="blockArc">
          <a:avLst>
            <a:gd name="adj1" fmla="val 18900000"/>
            <a:gd name="adj2" fmla="val 2700000"/>
            <a:gd name="adj3" fmla="val 383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5D9D3D-54C2-4928-894F-3693B1520BE2}">
      <dsp:nvSpPr>
        <dsp:cNvPr id="0" name=""/>
        <dsp:cNvSpPr/>
      </dsp:nvSpPr>
      <dsp:spPr>
        <a:xfrm>
          <a:off x="293873" y="64570"/>
          <a:ext cx="6314222" cy="67530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2193" tIns="35560" rIns="35560" bIns="35560" numCol="1" spcCol="1270" anchor="ctr" anchorCtr="0">
          <a:noAutofit/>
        </a:bodyPr>
        <a:lstStyle/>
        <a:p>
          <a:pPr marL="0" lvl="0" indent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/>
            <a:t>Автомобильная дорога «Сургут-Салехард, участок </a:t>
          </a:r>
          <a:r>
            <a:rPr lang="ru-RU" sz="1400" b="1" kern="1200" dirty="0" err="1"/>
            <a:t>Пурпе-Пуровск</a:t>
          </a:r>
          <a:r>
            <a:rPr lang="ru-RU" sz="1400" b="1" kern="1200" dirty="0"/>
            <a:t>»</a:t>
          </a:r>
        </a:p>
      </dsp:txBody>
      <dsp:txXfrm>
        <a:off x="293873" y="64570"/>
        <a:ext cx="6314222" cy="675305"/>
      </dsp:txXfrm>
    </dsp:sp>
    <dsp:sp modelId="{32421395-E733-4FA2-9DE9-2BF8D8ACC3ED}">
      <dsp:nvSpPr>
        <dsp:cNvPr id="0" name=""/>
        <dsp:cNvSpPr/>
      </dsp:nvSpPr>
      <dsp:spPr>
        <a:xfrm>
          <a:off x="55925" y="164275"/>
          <a:ext cx="475894" cy="475894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1644E5-F760-4E1B-808B-297A3D5D8095}">
      <dsp:nvSpPr>
        <dsp:cNvPr id="0" name=""/>
        <dsp:cNvSpPr/>
      </dsp:nvSpPr>
      <dsp:spPr>
        <a:xfrm>
          <a:off x="638645" y="691441"/>
          <a:ext cx="5969450" cy="56438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2193" tIns="35560" rIns="35560" bIns="35560" numCol="1" spcCol="1270" anchor="ctr" anchorCtr="0">
          <a:noAutofit/>
        </a:bodyPr>
        <a:lstStyle/>
        <a:p>
          <a:pPr marL="0" lvl="0" indent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/>
            <a:t>Северный объезд г. Новосибирска</a:t>
          </a:r>
        </a:p>
      </dsp:txBody>
      <dsp:txXfrm>
        <a:off x="638645" y="691441"/>
        <a:ext cx="5969450" cy="564380"/>
      </dsp:txXfrm>
    </dsp:sp>
    <dsp:sp modelId="{9CFE27F4-F188-46F6-869A-F56DFF0B677A}">
      <dsp:nvSpPr>
        <dsp:cNvPr id="0" name=""/>
        <dsp:cNvSpPr/>
      </dsp:nvSpPr>
      <dsp:spPr>
        <a:xfrm>
          <a:off x="400698" y="735684"/>
          <a:ext cx="475894" cy="475894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D902A94-D9FF-41AC-BC8A-3CF7428250BD}">
      <dsp:nvSpPr>
        <dsp:cNvPr id="0" name=""/>
        <dsp:cNvSpPr/>
      </dsp:nvSpPr>
      <dsp:spPr>
        <a:xfrm>
          <a:off x="827579" y="1354263"/>
          <a:ext cx="5780516" cy="38071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2193" tIns="35560" rIns="35560" bIns="35560" numCol="1" spcCol="1270" anchor="ctr" anchorCtr="0">
          <a:noAutofit/>
        </a:bodyPr>
        <a:lstStyle/>
        <a:p>
          <a:pPr marL="0" lvl="0" indent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 err="1"/>
            <a:t>г.Омск</a:t>
          </a:r>
          <a:r>
            <a:rPr lang="ru-RU" sz="1400" b="1" kern="1200" dirty="0"/>
            <a:t>, </a:t>
          </a:r>
          <a:r>
            <a:rPr lang="ru-RU" sz="1400" b="1" kern="1200" dirty="0" err="1"/>
            <a:t>ул.Омская</a:t>
          </a:r>
          <a:endParaRPr lang="ru-RU" sz="1400" b="1" kern="1200" dirty="0"/>
        </a:p>
      </dsp:txBody>
      <dsp:txXfrm>
        <a:off x="827579" y="1354263"/>
        <a:ext cx="5780516" cy="380715"/>
      </dsp:txXfrm>
    </dsp:sp>
    <dsp:sp modelId="{6ABDB202-E0DA-4FBC-B2AD-19F09940618F}">
      <dsp:nvSpPr>
        <dsp:cNvPr id="0" name=""/>
        <dsp:cNvSpPr/>
      </dsp:nvSpPr>
      <dsp:spPr>
        <a:xfrm>
          <a:off x="589631" y="1306674"/>
          <a:ext cx="475894" cy="475894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E2110D-2E9C-4C8D-BF56-FBAFDEB44FEC}">
      <dsp:nvSpPr>
        <dsp:cNvPr id="0" name=""/>
        <dsp:cNvSpPr/>
      </dsp:nvSpPr>
      <dsp:spPr>
        <a:xfrm>
          <a:off x="887903" y="1818304"/>
          <a:ext cx="5720192" cy="59545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2193" tIns="35560" rIns="35560" bIns="35560" numCol="1" spcCol="1270" anchor="ctr" anchorCtr="0">
          <a:noAutofit/>
        </a:bodyPr>
        <a:lstStyle/>
        <a:p>
          <a:pPr marL="0" lvl="0" indent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/>
            <a:t>Автомобильная дорога А 349 «Барнаул-Рубцовск-до границы с Республикой Казахстан на Семипалатинск»</a:t>
          </a:r>
        </a:p>
      </dsp:txBody>
      <dsp:txXfrm>
        <a:off x="887903" y="1818304"/>
        <a:ext cx="5720192" cy="595450"/>
      </dsp:txXfrm>
    </dsp:sp>
    <dsp:sp modelId="{1CC56086-AB16-4F08-9FFB-8BB21E6E8459}">
      <dsp:nvSpPr>
        <dsp:cNvPr id="0" name=""/>
        <dsp:cNvSpPr/>
      </dsp:nvSpPr>
      <dsp:spPr>
        <a:xfrm>
          <a:off x="649956" y="1878082"/>
          <a:ext cx="475894" cy="475894"/>
        </a:xfrm>
        <a:prstGeom prst="ellipse">
          <a:avLst/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85E851-B289-4BD2-A198-E7237FA45E3F}">
      <dsp:nvSpPr>
        <dsp:cNvPr id="0" name=""/>
        <dsp:cNvSpPr/>
      </dsp:nvSpPr>
      <dsp:spPr>
        <a:xfrm>
          <a:off x="827579" y="2359143"/>
          <a:ext cx="5780516" cy="6565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2193" tIns="35560" rIns="35560" bIns="35560" numCol="1" spcCol="1270" anchor="ctr" anchorCtr="0">
          <a:noAutofit/>
        </a:bodyPr>
        <a:lstStyle/>
        <a:p>
          <a:pPr marL="0" lvl="0" indent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/>
            <a:t>Автомобильная дорога 1Р402 «Тюмень-Ялуторовск</a:t>
          </a:r>
        </a:p>
        <a:p>
          <a:pPr marL="0" lvl="0" indent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/>
            <a:t>-Ишим-Омск» </a:t>
          </a:r>
        </a:p>
      </dsp:txBody>
      <dsp:txXfrm>
        <a:off x="827579" y="2359143"/>
        <a:ext cx="5780516" cy="656589"/>
      </dsp:txXfrm>
    </dsp:sp>
    <dsp:sp modelId="{3114DD44-8217-4565-9B31-01F496F13C33}">
      <dsp:nvSpPr>
        <dsp:cNvPr id="0" name=""/>
        <dsp:cNvSpPr/>
      </dsp:nvSpPr>
      <dsp:spPr>
        <a:xfrm>
          <a:off x="589631" y="2449491"/>
          <a:ext cx="475894" cy="475894"/>
        </a:xfrm>
        <a:prstGeom prst="ellipse">
          <a:avLst/>
        </a:prstGeom>
        <a:blipFill rotWithShape="0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65DA9C-2553-4115-90E8-2619F7DD7492}">
      <dsp:nvSpPr>
        <dsp:cNvPr id="0" name=""/>
        <dsp:cNvSpPr/>
      </dsp:nvSpPr>
      <dsp:spPr>
        <a:xfrm>
          <a:off x="638645" y="2998201"/>
          <a:ext cx="5969450" cy="52045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2193" tIns="35560" rIns="35560" bIns="35560" numCol="1" spcCol="1270" anchor="ctr" anchorCtr="0">
          <a:noAutofit/>
        </a:bodyPr>
        <a:lstStyle/>
        <a:p>
          <a:pPr marL="0" lvl="0" indent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/>
            <a:t>ПГТ "Крутая Горка" (Омская область)</a:t>
          </a:r>
        </a:p>
      </dsp:txBody>
      <dsp:txXfrm>
        <a:off x="638645" y="2998201"/>
        <a:ext cx="5969450" cy="520453"/>
      </dsp:txXfrm>
    </dsp:sp>
    <dsp:sp modelId="{1EAD2041-4F1B-435E-BA52-856EFC78A893}">
      <dsp:nvSpPr>
        <dsp:cNvPr id="0" name=""/>
        <dsp:cNvSpPr/>
      </dsp:nvSpPr>
      <dsp:spPr>
        <a:xfrm>
          <a:off x="400698" y="3020481"/>
          <a:ext cx="475894" cy="475894"/>
        </a:xfrm>
        <a:prstGeom prst="ellipse">
          <a:avLst/>
        </a:prstGeom>
        <a:blipFill rotWithShape="0">
          <a:blip xmlns:r="http://schemas.openxmlformats.org/officeDocument/2006/relationships" r:embed="rId6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995737-92B4-4A1C-82BF-2DE20D56BD6B}">
      <dsp:nvSpPr>
        <dsp:cNvPr id="0" name=""/>
        <dsp:cNvSpPr/>
      </dsp:nvSpPr>
      <dsp:spPr>
        <a:xfrm>
          <a:off x="293873" y="3539039"/>
          <a:ext cx="6314222" cy="5815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2193" tIns="35560" rIns="35560" bIns="35560" numCol="1" spcCol="1270" anchor="ctr" anchorCtr="0">
          <a:noAutofit/>
        </a:bodyPr>
        <a:lstStyle/>
        <a:p>
          <a:pPr marL="0" lvl="0" indent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/>
            <a:t>Федеральная автомобильная дорога М56 "Колыма"</a:t>
          </a:r>
        </a:p>
      </dsp:txBody>
      <dsp:txXfrm>
        <a:off x="293873" y="3539039"/>
        <a:ext cx="6314222" cy="581596"/>
      </dsp:txXfrm>
    </dsp:sp>
    <dsp:sp modelId="{1FFCC112-E322-40C9-9198-59A7A4337169}">
      <dsp:nvSpPr>
        <dsp:cNvPr id="0" name=""/>
        <dsp:cNvSpPr/>
      </dsp:nvSpPr>
      <dsp:spPr>
        <a:xfrm>
          <a:off x="55925" y="3591889"/>
          <a:ext cx="475894" cy="475894"/>
        </a:xfrm>
        <a:prstGeom prst="ellipse">
          <a:avLst/>
        </a:prstGeom>
        <a:blipFill rotWithShape="0">
          <a:blip xmlns:r="http://schemas.openxmlformats.org/officeDocument/2006/relationships" r:embed="rId7"/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4174</cdr:x>
      <cdr:y>0.87456</cdr:y>
    </cdr:from>
    <cdr:to>
      <cdr:x>0.20006</cdr:x>
      <cdr:y>0.90795</cdr:y>
    </cdr:to>
    <cdr:sp macro="" textlink="">
      <cdr:nvSpPr>
        <cdr:cNvPr id="2" name="Rectangle 46"/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224831" y="4030410"/>
          <a:ext cx="504056" cy="15388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 lIns="0" tIns="0" rIns="0" bIns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rPr>
            <a:t>прогноз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4"/>
            <a:ext cx="2945024" cy="494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379" tIns="47691" rIns="95379" bIns="47691" numCol="1" anchor="t" anchorCtr="0" compatLnSpc="1">
            <a:prstTxWarp prst="textNoShape">
              <a:avLst/>
            </a:prstTxWarp>
          </a:bodyPr>
          <a:lstStyle>
            <a:lvl1pPr defTabSz="953757" eaLnBrk="0" hangingPunct="0">
              <a:spcBef>
                <a:spcPct val="0"/>
              </a:spcBef>
              <a:defRPr sz="1300" b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30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7892" y="4"/>
            <a:ext cx="2945024" cy="494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379" tIns="47691" rIns="95379" bIns="47691" numCol="1" anchor="t" anchorCtr="0" compatLnSpc="1">
            <a:prstTxWarp prst="textNoShape">
              <a:avLst/>
            </a:prstTxWarp>
          </a:bodyPr>
          <a:lstStyle>
            <a:lvl1pPr algn="r" defTabSz="953757" eaLnBrk="0" hangingPunct="0">
              <a:spcBef>
                <a:spcPct val="0"/>
              </a:spcBef>
              <a:defRPr sz="1300" b="0">
                <a:latin typeface="Arial" charset="0"/>
              </a:defRPr>
            </a:lvl1pPr>
          </a:lstStyle>
          <a:p>
            <a:pPr>
              <a:defRPr/>
            </a:pPr>
            <a:fld id="{F450285A-9D5E-41C8-A499-C0B79482EC33}" type="datetime1">
              <a:rPr lang="ru-RU"/>
              <a:pPr>
                <a:defRPr/>
              </a:pPr>
              <a:t>04.03.2021</a:t>
            </a:fld>
            <a:endParaRPr lang="ru-RU" dirty="0"/>
          </a:p>
        </p:txBody>
      </p:sp>
      <p:sp>
        <p:nvSpPr>
          <p:cNvPr id="430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10229"/>
            <a:ext cx="2945024" cy="494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379" tIns="47691" rIns="95379" bIns="47691" numCol="1" anchor="b" anchorCtr="0" compatLnSpc="1">
            <a:prstTxWarp prst="textNoShape">
              <a:avLst/>
            </a:prstTxWarp>
          </a:bodyPr>
          <a:lstStyle>
            <a:lvl1pPr defTabSz="953757" eaLnBrk="0" hangingPunct="0">
              <a:spcBef>
                <a:spcPct val="0"/>
              </a:spcBef>
              <a:defRPr sz="1300" b="0">
                <a:latin typeface="Arial" charset="0"/>
              </a:defRPr>
            </a:lvl1pPr>
          </a:lstStyle>
          <a:p>
            <a:pPr>
              <a:defRPr/>
            </a:pPr>
            <a:r>
              <a:rPr lang="ru-RU" dirty="0"/>
              <a:t>Энергия роста</a:t>
            </a:r>
          </a:p>
        </p:txBody>
      </p:sp>
      <p:sp>
        <p:nvSpPr>
          <p:cNvPr id="430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7892" y="9410229"/>
            <a:ext cx="2945024" cy="494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379" tIns="47691" rIns="95379" bIns="47691" numCol="1" anchor="b" anchorCtr="0" compatLnSpc="1">
            <a:prstTxWarp prst="textNoShape">
              <a:avLst/>
            </a:prstTxWarp>
          </a:bodyPr>
          <a:lstStyle>
            <a:lvl1pPr algn="r" defTabSz="953757" eaLnBrk="0" hangingPunct="0">
              <a:spcBef>
                <a:spcPct val="0"/>
              </a:spcBef>
              <a:defRPr sz="1300" b="0">
                <a:latin typeface="Arial" charset="0"/>
              </a:defRPr>
            </a:lvl1pPr>
          </a:lstStyle>
          <a:p>
            <a:pPr>
              <a:defRPr/>
            </a:pPr>
            <a:fld id="{FA29123E-F2A4-42E6-9FEA-AFBC9877ADC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03957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0" y="4"/>
            <a:ext cx="2945024" cy="494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379" tIns="47691" rIns="95379" bIns="47691" numCol="1" anchor="t" anchorCtr="0" compatLnSpc="1">
            <a:prstTxWarp prst="textNoShape">
              <a:avLst/>
            </a:prstTxWarp>
          </a:bodyPr>
          <a:lstStyle>
            <a:lvl1pPr defTabSz="953757">
              <a:spcBef>
                <a:spcPct val="0"/>
              </a:spcBef>
              <a:defRPr sz="1300" b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47892" y="4"/>
            <a:ext cx="2945024" cy="494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379" tIns="47691" rIns="95379" bIns="47691" numCol="1" anchor="t" anchorCtr="0" compatLnSpc="1">
            <a:prstTxWarp prst="textNoShape">
              <a:avLst/>
            </a:prstTxWarp>
          </a:bodyPr>
          <a:lstStyle>
            <a:lvl1pPr algn="r" defTabSz="953757">
              <a:spcBef>
                <a:spcPct val="0"/>
              </a:spcBef>
              <a:defRPr sz="1300" b="0">
                <a:latin typeface="Arial" charset="0"/>
              </a:defRPr>
            </a:lvl1pPr>
          </a:lstStyle>
          <a:p>
            <a:pPr>
              <a:defRPr/>
            </a:pPr>
            <a:fld id="{AF5535B8-C239-4354-B35E-49DC8D0CCCD5}" type="datetime1">
              <a:rPr lang="ru-RU"/>
              <a:pPr>
                <a:defRPr/>
              </a:pPr>
              <a:t>04.03.2021</a:t>
            </a:fld>
            <a:endParaRPr lang="ru-RU" dirty="0"/>
          </a:p>
        </p:txBody>
      </p:sp>
      <p:sp>
        <p:nvSpPr>
          <p:cNvPr id="14340" name="Образ слайда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923925" y="744538"/>
            <a:ext cx="4948238" cy="3713162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9137" y="4704325"/>
            <a:ext cx="5436235" cy="44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379" tIns="47691" rIns="95379" bIns="4769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0"/>
            <a:r>
              <a:rPr lang="ru-RU" noProof="0"/>
              <a:t>Второй уровень</a:t>
            </a:r>
          </a:p>
          <a:p>
            <a:pPr lvl="0"/>
            <a:r>
              <a:rPr lang="ru-RU" noProof="0"/>
              <a:t>Третий уровень</a:t>
            </a:r>
          </a:p>
          <a:p>
            <a:pPr lvl="0"/>
            <a:r>
              <a:rPr lang="ru-RU" noProof="0"/>
              <a:t>Четвертый уровень</a:t>
            </a:r>
          </a:p>
          <a:p>
            <a:pPr lvl="0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0" y="9410229"/>
            <a:ext cx="2945024" cy="494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379" tIns="47691" rIns="95379" bIns="47691" numCol="1" anchor="b" anchorCtr="0" compatLnSpc="1">
            <a:prstTxWarp prst="textNoShape">
              <a:avLst/>
            </a:prstTxWarp>
          </a:bodyPr>
          <a:lstStyle>
            <a:lvl1pPr defTabSz="953757">
              <a:spcBef>
                <a:spcPct val="0"/>
              </a:spcBef>
              <a:defRPr sz="1300" b="0">
                <a:latin typeface="Arial" charset="0"/>
              </a:defRPr>
            </a:lvl1pPr>
          </a:lstStyle>
          <a:p>
            <a:pPr>
              <a:defRPr/>
            </a:pPr>
            <a:r>
              <a:rPr lang="ru-RU" dirty="0"/>
              <a:t>Энергия ро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47892" y="9410229"/>
            <a:ext cx="2945024" cy="494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379" tIns="47691" rIns="95379" bIns="47691" numCol="1" anchor="b" anchorCtr="0" compatLnSpc="1">
            <a:prstTxWarp prst="textNoShape">
              <a:avLst/>
            </a:prstTxWarp>
          </a:bodyPr>
          <a:lstStyle>
            <a:lvl1pPr algn="r" defTabSz="953757">
              <a:spcBef>
                <a:spcPct val="0"/>
              </a:spcBef>
              <a:defRPr sz="1300" b="0">
                <a:latin typeface="Arial" charset="0"/>
              </a:defRPr>
            </a:lvl1pPr>
          </a:lstStyle>
          <a:p>
            <a:pPr>
              <a:defRPr/>
            </a:pPr>
            <a:fld id="{93F3DDC7-5BF1-4D57-B27C-708CA16ABF8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686897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814388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1pPr>
    <a:lvl2pPr marL="742950" indent="-285750" algn="l" defTabSz="814388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2pPr>
    <a:lvl3pPr marL="1143000" indent="-228600" algn="l" defTabSz="814388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3pPr>
    <a:lvl4pPr marL="1600200" indent="-228600" algn="l" defTabSz="814388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4pPr>
    <a:lvl5pPr marL="2057400" indent="-228600" algn="l" defTabSz="814388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Arial Unicode MS" pitchFamily="34" charset="-128"/>
        <a:cs typeface="Arial Unicode MS" pitchFamily="34" charset="-128"/>
      </a:defRPr>
    </a:lvl5pPr>
    <a:lvl6pPr marL="2044031" algn="l" defTabSz="81761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452837" algn="l" defTabSz="81761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861643" algn="l" defTabSz="81761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270449" algn="l" defTabSz="817613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363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Энергия рост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3F3DDC7-5BF1-4D57-B27C-708CA16ABF8B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803802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Энергия рост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3F3DDC7-5BF1-4D57-B27C-708CA16ABF8B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733020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Энергия рост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3F3DDC7-5BF1-4D57-B27C-708CA16ABF8B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02755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6387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Энергия рост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3F3DDC7-5BF1-4D57-B27C-708CA16ABF8B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61908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Энергия рост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3F3DDC7-5BF1-4D57-B27C-708CA16ABF8B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476425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Энергия рост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3F3DDC7-5BF1-4D57-B27C-708CA16ABF8B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47642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Энергия рост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3F3DDC7-5BF1-4D57-B27C-708CA16ABF8B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2010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сновная сумма инвестиций в 2011-2012гг. -  проект реконструкции установки производства битума на Московском НПЗ.</a:t>
            </a:r>
          </a:p>
          <a:p>
            <a:r>
              <a:rPr lang="ru-RU" dirty="0"/>
              <a:t>Кроме того, реализуются и планируются к реализации следующие проекты на Омском НПЗ:</a:t>
            </a:r>
          </a:p>
          <a:p>
            <a:pPr marL="165124" indent="-165124">
              <a:buFont typeface="Arial" pitchFamily="34" charset="0"/>
              <a:buChar char="•"/>
            </a:pPr>
            <a:r>
              <a:rPr lang="ru-RU" dirty="0"/>
              <a:t>Установка по производству ПБВ и битумных эмульсий</a:t>
            </a:r>
          </a:p>
          <a:p>
            <a:pPr marL="165124" indent="-165124">
              <a:buFont typeface="Arial" pitchFamily="34" charset="0"/>
              <a:buChar char="•"/>
            </a:pPr>
            <a:r>
              <a:rPr lang="ru-RU" dirty="0"/>
              <a:t>Эстакада налива битума в ж/д цистерны.  </a:t>
            </a:r>
          </a:p>
          <a:p>
            <a:pPr marL="165124" indent="-165124">
              <a:buFont typeface="Arial" pitchFamily="34" charset="0"/>
              <a:buChar char="•"/>
            </a:pPr>
            <a:r>
              <a:rPr lang="ru-RU" dirty="0"/>
              <a:t>Система налива сырья для производства нефтяных вязких дорожных битумов </a:t>
            </a:r>
          </a:p>
          <a:p>
            <a:pPr marL="165124" indent="-165124">
              <a:buFont typeface="Arial" pitchFamily="34" charset="0"/>
              <a:buChar char="•"/>
            </a:pPr>
            <a:r>
              <a:rPr lang="ru-RU" dirty="0"/>
              <a:t>Эстакада налива битумов в автомобильный транспорт </a:t>
            </a:r>
          </a:p>
          <a:p>
            <a:r>
              <a:rPr lang="ru-RU" dirty="0"/>
              <a:t>В рамках деятельности </a:t>
            </a:r>
            <a:r>
              <a:rPr lang="en-US" dirty="0"/>
              <a:t>M&amp;A </a:t>
            </a:r>
            <a:r>
              <a:rPr lang="ru-RU" dirty="0"/>
              <a:t>планируется</a:t>
            </a:r>
            <a:r>
              <a:rPr lang="en-US" dirty="0"/>
              <a:t> </a:t>
            </a:r>
            <a:r>
              <a:rPr lang="ru-RU" dirty="0"/>
              <a:t>создание</a:t>
            </a:r>
            <a:r>
              <a:rPr lang="ru-RU" baseline="0" dirty="0"/>
              <a:t> СП</a:t>
            </a:r>
            <a:r>
              <a:rPr lang="ru-RU" dirty="0"/>
              <a:t> с</a:t>
            </a:r>
            <a:r>
              <a:rPr lang="ru-RU" baseline="0" dirty="0"/>
              <a:t> действующим предприятием на юге РФ. В планах – модернизация производства и выпуск новых продуктов.</a:t>
            </a: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DA128ED-C609-42C1-9B23-463DA24F7764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84775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Энергия рост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3F3DDC7-5BF1-4D57-B27C-708CA16ABF8B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22275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Энергия рост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3F3DDC7-5BF1-4D57-B27C-708CA16ABF8B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26791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6387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814305"/>
            <a:r>
              <a:rPr lang="ru-RU" dirty="0">
                <a:solidFill>
                  <a:srgbClr val="0B70B5"/>
                </a:solidFill>
              </a:rPr>
              <a:t>1. Стабильное качество</a:t>
            </a:r>
          </a:p>
          <a:p>
            <a:pPr defTabSz="814305"/>
            <a:r>
              <a:rPr lang="ru-RU" dirty="0">
                <a:solidFill>
                  <a:srgbClr val="0B70B5"/>
                </a:solidFill>
              </a:rPr>
              <a:t>2. Лидерство по качеству</a:t>
            </a:r>
          </a:p>
          <a:p>
            <a:pPr defTabSz="814305"/>
            <a:r>
              <a:rPr lang="ru-RU" dirty="0">
                <a:solidFill>
                  <a:srgbClr val="0B70B5"/>
                </a:solidFill>
              </a:rPr>
              <a:t>3. Работа на перспективу</a:t>
            </a:r>
          </a:p>
          <a:p>
            <a:pPr defTabSz="814305"/>
            <a:r>
              <a:rPr lang="ru-RU" dirty="0">
                <a:solidFill>
                  <a:srgbClr val="0B70B5"/>
                </a:solidFill>
              </a:rPr>
              <a:t>4. Адресный подход. Расширение географии поставок</a:t>
            </a:r>
            <a:endParaRPr lang="ru-RU" dirty="0"/>
          </a:p>
        </p:txBody>
      </p:sp>
      <p:sp>
        <p:nvSpPr>
          <p:cNvPr id="1638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874" indent="-285721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883" indent="-228577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037" indent="-228577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190" indent="-228577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343" indent="-22857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497" indent="-22857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650" indent="-22857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803" indent="-22857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D2FCA1C0-299D-4C2B-B898-BDF66481DBDC}" type="slidenum">
              <a:rPr lang="ru-RU" smtClean="0"/>
              <a:pPr eaLnBrk="1" hangingPunct="1"/>
              <a:t>6</a:t>
            </a:fld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Энергия рост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3F3DDC7-5BF1-4D57-B27C-708CA16ABF8B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9650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Энергия рост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3F3DDC7-5BF1-4D57-B27C-708CA16ABF8B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86472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Энергия рост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3F3DDC7-5BF1-4D57-B27C-708CA16ABF8B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55897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ain_logo_crop.pdf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06613"/>
            <a:ext cx="5853113" cy="475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 descr="white_logo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80263" y="2217738"/>
            <a:ext cx="1566862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8" descr="blue_bottom.pdf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6380163"/>
            <a:ext cx="9144000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5" descr="blue_logo.pn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869238" y="41433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900" kern="1200">
          <a:solidFill>
            <a:schemeClr val="tx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pitchFamily="-112" charset="-52"/>
          <a:ea typeface="Arial Unicode MS" pitchFamily="34" charset="-128"/>
          <a:cs typeface="Arial Unicode MS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pitchFamily="-112" charset="-52"/>
          <a:ea typeface="Arial Unicode MS" pitchFamily="34" charset="-128"/>
          <a:cs typeface="Arial Unicode MS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pitchFamily="-112" charset="-52"/>
          <a:ea typeface="Arial Unicode MS" pitchFamily="34" charset="-128"/>
          <a:cs typeface="Arial Unicode MS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pitchFamily="-112" charset="-52"/>
          <a:ea typeface="Arial Unicode MS" pitchFamily="34" charset="-128"/>
          <a:cs typeface="Arial Unicode MS" pitchFamily="34" charset="-128"/>
        </a:defRPr>
      </a:lvl5pPr>
      <a:lvl6pPr marL="408970" algn="ctr" rtl="0" fontAlgn="base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" pitchFamily="34" charset="0"/>
        </a:defRPr>
      </a:lvl6pPr>
      <a:lvl7pPr marL="817940" algn="ctr" rtl="0" fontAlgn="base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" pitchFamily="34" charset="0"/>
        </a:defRPr>
      </a:lvl7pPr>
      <a:lvl8pPr marL="1226910" algn="ctr" rtl="0" fontAlgn="base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" pitchFamily="34" charset="0"/>
        </a:defRPr>
      </a:lvl8pPr>
      <a:lvl9pPr marL="1635878" algn="ctr" rtl="0" fontAlgn="base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" pitchFamily="34" charset="0"/>
        </a:defRPr>
      </a:lvl9pPr>
    </p:titleStyle>
    <p:bodyStyle>
      <a:lvl1pPr marL="304800" indent="-3048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661988" indent="-2540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500" kern="12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1020763" indent="-201613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1428750" indent="-201613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1838325" indent="-201613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2249333" indent="-204485" algn="l" defTabSz="81794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58303" indent="-204485" algn="l" defTabSz="81794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67273" indent="-204485" algn="l" defTabSz="81794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76243" indent="-204485" algn="l" defTabSz="81794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179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970" algn="l" defTabSz="8179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7940" algn="l" defTabSz="8179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6910" algn="l" defTabSz="8179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5878" algn="l" defTabSz="8179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4848" algn="l" defTabSz="8179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53818" algn="l" defTabSz="8179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62788" algn="l" defTabSz="8179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71758" algn="l" defTabSz="8179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8" descr="blue_bottom.pdf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380163"/>
            <a:ext cx="9144000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5" descr="blue_logo.png"/>
          <p:cNvPicPr>
            <a:picLocks noChangeAspect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869238" y="41433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9pPr>
    </p:titleStyle>
    <p:bodyStyle>
      <a:lvl1pPr marL="304800" indent="-3048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900">
          <a:solidFill>
            <a:schemeClr val="tx1"/>
          </a:solidFill>
          <a:latin typeface="+mn-lt"/>
          <a:ea typeface="+mn-ea"/>
          <a:cs typeface="+mn-cs"/>
        </a:defRPr>
      </a:lvl1pPr>
      <a:lvl2pPr marL="661988" indent="-2540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500">
          <a:solidFill>
            <a:schemeClr val="tx1"/>
          </a:solidFill>
          <a:latin typeface="+mn-lt"/>
          <a:ea typeface="+mn-ea"/>
          <a:cs typeface="+mn-cs"/>
        </a:defRPr>
      </a:lvl2pPr>
      <a:lvl3pPr marL="1020763" indent="-201613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100">
          <a:solidFill>
            <a:schemeClr val="tx1"/>
          </a:solidFill>
          <a:latin typeface="+mn-lt"/>
          <a:ea typeface="+mn-ea"/>
          <a:cs typeface="+mn-cs"/>
        </a:defRPr>
      </a:lvl3pPr>
      <a:lvl4pPr marL="1428750" indent="-201613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1838325" indent="-201613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2295525" indent="-201613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752725" indent="-201613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209925" indent="-201613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667125" indent="-201613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8" descr="blue_bottom.pdf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380163"/>
            <a:ext cx="9144000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390525" y="6588125"/>
            <a:ext cx="774700" cy="1365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lang="ru-RU" sz="900" b="0" dirty="0">
                <a:solidFill>
                  <a:schemeClr val="bg1"/>
                </a:solidFill>
                <a:latin typeface="Arial" charset="0"/>
              </a:rPr>
              <a:t>Энергия роста</a:t>
            </a:r>
          </a:p>
        </p:txBody>
      </p:sp>
      <p:pic>
        <p:nvPicPr>
          <p:cNvPr id="3076" name="Picture 5" descr="blue_logo.png"/>
          <p:cNvPicPr>
            <a:picLocks noChangeAspect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869238" y="414338"/>
            <a:ext cx="8778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Arial" charset="0"/>
          <a:ea typeface="Arial Unicode MS" pitchFamily="34" charset="-128"/>
          <a:cs typeface="Arial Unicode MS" pitchFamily="34" charset="-128"/>
        </a:defRPr>
      </a:lvl9pPr>
    </p:titleStyle>
    <p:bodyStyle>
      <a:lvl1pPr marL="304800" indent="-3048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900">
          <a:solidFill>
            <a:schemeClr val="tx1"/>
          </a:solidFill>
          <a:latin typeface="+mn-lt"/>
          <a:ea typeface="+mn-ea"/>
          <a:cs typeface="+mn-cs"/>
        </a:defRPr>
      </a:lvl1pPr>
      <a:lvl2pPr marL="661988" indent="-2540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500">
          <a:solidFill>
            <a:schemeClr val="tx1"/>
          </a:solidFill>
          <a:latin typeface="+mn-lt"/>
          <a:ea typeface="+mn-ea"/>
          <a:cs typeface="+mn-cs"/>
        </a:defRPr>
      </a:lvl2pPr>
      <a:lvl3pPr marL="1020763" indent="-201613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100">
          <a:solidFill>
            <a:schemeClr val="tx1"/>
          </a:solidFill>
          <a:latin typeface="+mn-lt"/>
          <a:ea typeface="+mn-ea"/>
          <a:cs typeface="+mn-cs"/>
        </a:defRPr>
      </a:lvl3pPr>
      <a:lvl4pPr marL="1428750" indent="-201613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1838325" indent="-201613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2295525" indent="-201613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752725" indent="-201613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209925" indent="-201613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667125" indent="-201613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CB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</p:sldLayoutIdLst>
  <p:txStyles>
    <p:titleStyle>
      <a:lvl1pPr algn="ctr" defTabSz="911225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+mj-ea"/>
          <a:cs typeface="+mj-cs"/>
        </a:defRPr>
      </a:lvl1pPr>
      <a:lvl2pPr algn="ctr" defTabSz="911225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2pPr>
      <a:lvl3pPr algn="ctr" defTabSz="911225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3pPr>
      <a:lvl4pPr algn="ctr" defTabSz="911225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4pPr>
      <a:lvl5pPr algn="ctr" defTabSz="911225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5pPr>
      <a:lvl6pPr marL="408805" algn="ctr" defTabSz="914135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817613" algn="ctr" defTabSz="914135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226418" algn="ctr" defTabSz="914135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635223" algn="ctr" defTabSz="914135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39725" indent="-339725" algn="l" defTabSz="911225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739775" indent="-282575" algn="l" defTabSz="911225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1139825" indent="-225425" algn="l" defTabSz="911225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597025" indent="-225425" algn="l" defTabSz="911225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2054225" indent="-225425" algn="l" defTabSz="911225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465612" indent="-228535" algn="l" defTabSz="914135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874418" indent="-228535" algn="l" defTabSz="914135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283224" indent="-228535" algn="l" defTabSz="914135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692030" indent="-228535" algn="l" defTabSz="914135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video" Target="file:///C:/Users/&#1040;&#1076;&#1084;&#1080;&#1085;&#1080;&#1089;&#1090;&#1088;&#1072;&#1090;&#1086;&#1088;/Desktop/&#1087;&#1088;&#1077;&#1079;/Massenza%20GAZPROMNEFT.avi" TargetMode="Externa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1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slide" Target="slide1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12.jpeg"/><Relationship Id="rId4" Type="http://schemas.openxmlformats.org/officeDocument/2006/relationships/diagramLayout" Target="../diagrams/layout1.xml"/><Relationship Id="rId9" Type="http://schemas.openxmlformats.org/officeDocument/2006/relationships/hyperlink" Target="http://stayviolation.typepad.com/.a/6a00d834515bc269e201127944766f28a4-320wi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notesSlide" Target="../notesSlides/notesSlide8.xml"/><Relationship Id="rId7" Type="http://schemas.openxmlformats.org/officeDocument/2006/relationships/diagramData" Target="../diagrams/data2.xml"/><Relationship Id="rId12" Type="http://schemas.openxmlformats.org/officeDocument/2006/relationships/image" Target="../media/image15.emf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1.bin"/><Relationship Id="rId10" Type="http://schemas.openxmlformats.org/officeDocument/2006/relationships/diagramColors" Target="../diagrams/colors2.xml"/><Relationship Id="rId4" Type="http://schemas.openxmlformats.org/officeDocument/2006/relationships/image" Target="../media/image14.png"/><Relationship Id="rId9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3"/>
          <p:cNvSpPr>
            <a:spLocks noChangeArrowheads="1"/>
          </p:cNvSpPr>
          <p:nvPr/>
        </p:nvSpPr>
        <p:spPr bwMode="auto">
          <a:xfrm>
            <a:off x="3993833" y="4585623"/>
            <a:ext cx="5233987" cy="833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 anchor="ctr">
            <a:spAutoFit/>
          </a:bodyPr>
          <a:lstStyle/>
          <a:p>
            <a:pPr>
              <a:spcBef>
                <a:spcPct val="0"/>
              </a:spcBef>
            </a:pPr>
            <a:r>
              <a:rPr lang="ru-RU" sz="2400" b="0" dirty="0">
                <a:solidFill>
                  <a:schemeClr val="bg1"/>
                </a:solidFill>
              </a:rPr>
              <a:t>Опыт производства ПБВ</a:t>
            </a:r>
          </a:p>
          <a:p>
            <a:pPr>
              <a:spcBef>
                <a:spcPct val="0"/>
              </a:spcBef>
            </a:pPr>
            <a:r>
              <a:rPr lang="ru-RU" sz="2400" b="0" dirty="0">
                <a:solidFill>
                  <a:schemeClr val="bg1"/>
                </a:solidFill>
              </a:rPr>
              <a:t>на Омском НПЗ</a:t>
            </a:r>
          </a:p>
        </p:txBody>
      </p:sp>
      <p:sp>
        <p:nvSpPr>
          <p:cNvPr id="5123" name="Rectangle 4"/>
          <p:cNvSpPr>
            <a:spLocks noChangeArrowheads="1"/>
          </p:cNvSpPr>
          <p:nvPr/>
        </p:nvSpPr>
        <p:spPr bwMode="auto">
          <a:xfrm>
            <a:off x="6589382" y="6128962"/>
            <a:ext cx="2268868" cy="248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 anchor="ctr">
            <a:spAutoFit/>
          </a:bodyPr>
          <a:lstStyle/>
          <a:p>
            <a:pPr algn="r">
              <a:spcBef>
                <a:spcPct val="0"/>
              </a:spcBef>
            </a:pPr>
            <a:r>
              <a:rPr lang="ru-RU" sz="1000" b="0" dirty="0">
                <a:solidFill>
                  <a:schemeClr val="bg1"/>
                </a:solidFill>
              </a:rPr>
              <a:t> 30 марта 2012 г., Санкт-Петербург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81737" y="4711339"/>
            <a:ext cx="2457450" cy="1583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tangle 5"/>
          <p:cNvSpPr>
            <a:spLocks noChangeArrowheads="1"/>
          </p:cNvSpPr>
          <p:nvPr/>
        </p:nvSpPr>
        <p:spPr bwMode="auto">
          <a:xfrm>
            <a:off x="0" y="0"/>
            <a:ext cx="7597775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/>
          <a:lstStyle/>
          <a:p>
            <a:pPr defTabSz="44926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itchFamily="34" charset="0"/>
              <a:buNone/>
              <a:defRPr/>
            </a:pPr>
            <a:r>
              <a:rPr lang="ru-RU" kern="0" dirty="0">
                <a:solidFill>
                  <a:srgbClr val="0066CC"/>
                </a:solidFill>
                <a:latin typeface="Arial" charset="0"/>
              </a:rPr>
              <a:t>Участие «Газпром нефть» в экспериментальных проектах</a:t>
            </a:r>
          </a:p>
        </p:txBody>
      </p:sp>
      <p:sp>
        <p:nvSpPr>
          <p:cNvPr id="4" name="Rectangle 53"/>
          <p:cNvSpPr>
            <a:spLocks noChangeArrowheads="1"/>
          </p:cNvSpPr>
          <p:nvPr/>
        </p:nvSpPr>
        <p:spPr bwMode="auto">
          <a:xfrm>
            <a:off x="247650" y="817563"/>
            <a:ext cx="6782542" cy="1325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lang="ru-RU" sz="1600" b="0" dirty="0">
                <a:solidFill>
                  <a:schemeClr val="accent1">
                    <a:lumMod val="75000"/>
                  </a:schemeClr>
                </a:solidFill>
              </a:rPr>
              <a:t>Цель участия в мониторинге – создание научно-экспериментальной базы для обоснования перспективности применения ПБВ на российских автомобильных дорогах. Долгосрочные исследования позволят наглядно зафиксировать повышение эксплуатационных свойств асфальтобетонного покрытия.</a:t>
            </a:r>
          </a:p>
        </p:txBody>
      </p:sp>
      <p:sp>
        <p:nvSpPr>
          <p:cNvPr id="8" name="Rectangle 55"/>
          <p:cNvSpPr>
            <a:spLocks noChangeArrowheads="1"/>
          </p:cNvSpPr>
          <p:nvPr/>
        </p:nvSpPr>
        <p:spPr bwMode="auto">
          <a:xfrm>
            <a:off x="458789" y="2436813"/>
            <a:ext cx="3494086" cy="1658937"/>
          </a:xfrm>
          <a:prstGeom prst="rect">
            <a:avLst/>
          </a:prstGeom>
          <a:solidFill>
            <a:schemeClr val="tx2">
              <a:lumMod val="60000"/>
              <a:lumOff val="40000"/>
              <a:alpha val="9019"/>
            </a:schemeClr>
          </a:soli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171450" indent="-171450">
              <a:spcBef>
                <a:spcPts val="0"/>
              </a:spcBef>
              <a:buFont typeface="Wingdings" pitchFamily="2" charset="2"/>
              <a:buChar char="§"/>
            </a:pPr>
            <a:endParaRPr lang="ru-RU" sz="1200" b="0" dirty="0"/>
          </a:p>
          <a:p>
            <a:pPr indent="271463" algn="just">
              <a:spcBef>
                <a:spcPts val="0"/>
              </a:spcBef>
            </a:pPr>
            <a:r>
              <a:rPr lang="ru-RU" sz="1200" b="0" kern="0" dirty="0">
                <a:cs typeface="Arial" pitchFamily="34" charset="0"/>
              </a:rPr>
              <a:t>Участок верхнего слоя покрытия из асфальтобетона типа А марки I на участке капитального ремонта автомобильной дороги </a:t>
            </a:r>
            <a:r>
              <a:rPr lang="ru-RU" sz="1200" kern="0" dirty="0">
                <a:solidFill>
                  <a:srgbClr val="007AC2"/>
                </a:solidFill>
                <a:cs typeface="Arial" pitchFamily="34" charset="0"/>
              </a:rPr>
              <a:t>1Р402 «Тюмень-Ялуторовск-Ишим-Омск» км 455+000 – км 456+000 </a:t>
            </a:r>
            <a:r>
              <a:rPr lang="ru-RU" sz="1200" b="0" kern="0" dirty="0">
                <a:cs typeface="Arial" pitchFamily="34" charset="0"/>
              </a:rPr>
              <a:t>с применением полимерно-битумных вяжущих материалов марки ПБВ 60 производства ОАО «Газпромнефть-ОНПЗ».</a:t>
            </a:r>
          </a:p>
          <a:p>
            <a:pPr marL="171450" indent="-171450">
              <a:spcBef>
                <a:spcPts val="0"/>
              </a:spcBef>
              <a:buFont typeface="Wingdings" pitchFamily="2" charset="2"/>
              <a:buChar char="§"/>
            </a:pPr>
            <a:endParaRPr lang="en-US" sz="1200" b="0" kern="0" dirty="0">
              <a:cs typeface="Arial" pitchFamily="34" charset="0"/>
            </a:endParaRPr>
          </a:p>
        </p:txBody>
      </p:sp>
      <p:sp>
        <p:nvSpPr>
          <p:cNvPr id="11" name="Rectangle 55"/>
          <p:cNvSpPr>
            <a:spLocks noChangeArrowheads="1"/>
          </p:cNvSpPr>
          <p:nvPr/>
        </p:nvSpPr>
        <p:spPr bwMode="auto">
          <a:xfrm>
            <a:off x="4448176" y="2427288"/>
            <a:ext cx="3705224" cy="1658937"/>
          </a:xfrm>
          <a:prstGeom prst="rect">
            <a:avLst/>
          </a:prstGeom>
          <a:solidFill>
            <a:schemeClr val="tx2">
              <a:lumMod val="60000"/>
              <a:lumOff val="40000"/>
              <a:alpha val="9019"/>
            </a:schemeClr>
          </a:soli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indent="355600" algn="just">
              <a:spcBef>
                <a:spcPts val="0"/>
              </a:spcBef>
            </a:pPr>
            <a:r>
              <a:rPr lang="ru-RU" sz="1200" b="0" kern="0" dirty="0">
                <a:cs typeface="Arial" pitchFamily="34" charset="0"/>
              </a:rPr>
              <a:t>Участок верхнего слоя покрытия щебеночно-мастичного асфальтобетона марки ЩМА 15 на участке капитального ремонта автомобильной дороги </a:t>
            </a:r>
            <a:r>
              <a:rPr lang="ru-RU" sz="1200" kern="0" dirty="0">
                <a:solidFill>
                  <a:srgbClr val="007AC2"/>
                </a:solidFill>
                <a:cs typeface="Arial" pitchFamily="34" charset="0"/>
              </a:rPr>
              <a:t>А 349 «Барнаул-Рубцовск-до границы с Республикой Казахстан на Семипалатинск» км 85 </a:t>
            </a:r>
            <a:r>
              <a:rPr lang="ru-RU" sz="1200" b="0" kern="0" dirty="0">
                <a:cs typeface="Arial" pitchFamily="34" charset="0"/>
              </a:rPr>
              <a:t>с применением полимерно-битумных вяжущих материалов марки ПБВ 60 производства ОАО «Газпромнефть-ОНПЗ».</a:t>
            </a:r>
          </a:p>
        </p:txBody>
      </p:sp>
      <p:sp>
        <p:nvSpPr>
          <p:cNvPr id="9" name="Номер слайда 1"/>
          <p:cNvSpPr txBox="1">
            <a:spLocks noGrp="1"/>
          </p:cNvSpPr>
          <p:nvPr/>
        </p:nvSpPr>
        <p:spPr bwMode="auto">
          <a:xfrm>
            <a:off x="8442325" y="6524625"/>
            <a:ext cx="5937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r>
              <a:rPr lang="ru-RU" sz="900" dirty="0">
                <a:solidFill>
                  <a:schemeClr val="bg1"/>
                </a:solidFill>
              </a:rPr>
              <a:t>стр. </a:t>
            </a:r>
            <a:fld id="{20E63358-B481-4829-A4EF-5F824183D207}" type="slidenum">
              <a:rPr lang="ru-RU" sz="900">
                <a:solidFill>
                  <a:schemeClr val="bg1"/>
                </a:solidFill>
              </a:rPr>
              <a:pPr/>
              <a:t>10</a:t>
            </a:fld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2" name="Rectangle 55"/>
          <p:cNvSpPr>
            <a:spLocks noChangeArrowheads="1"/>
          </p:cNvSpPr>
          <p:nvPr/>
        </p:nvSpPr>
        <p:spPr bwMode="auto">
          <a:xfrm>
            <a:off x="468314" y="4379913"/>
            <a:ext cx="3494086" cy="1658937"/>
          </a:xfrm>
          <a:prstGeom prst="rect">
            <a:avLst/>
          </a:prstGeom>
          <a:solidFill>
            <a:schemeClr val="tx2">
              <a:lumMod val="60000"/>
              <a:lumOff val="40000"/>
              <a:alpha val="9019"/>
            </a:schemeClr>
          </a:soli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indent="271463" algn="just">
              <a:spcBef>
                <a:spcPts val="0"/>
              </a:spcBef>
            </a:pPr>
            <a:r>
              <a:rPr lang="ru-RU" sz="1200" b="0" dirty="0"/>
              <a:t>Участок </a:t>
            </a:r>
            <a:r>
              <a:rPr lang="ru-RU" sz="1200" b="0" kern="0" dirty="0">
                <a:cs typeface="Arial" pitchFamily="34" charset="0"/>
              </a:rPr>
              <a:t>ремонта автомобильной дороги </a:t>
            </a:r>
            <a:r>
              <a:rPr lang="ru-RU" sz="1200" kern="0" dirty="0">
                <a:solidFill>
                  <a:srgbClr val="007AC2"/>
                </a:solidFill>
                <a:cs typeface="Arial" pitchFamily="34" charset="0"/>
              </a:rPr>
              <a:t>А-108 «Московское большое кольцо, перегон Каширо – Симферопольское шоссе» км 26+965 – 29+200</a:t>
            </a:r>
            <a:r>
              <a:rPr lang="ru-RU" sz="1200" b="0" kern="0" dirty="0">
                <a:cs typeface="Arial" pitchFamily="34" charset="0"/>
              </a:rPr>
              <a:t> с применением полимерно-битумных вяжущих материалов марки ПБВ 60 производства ОАО «Газпромнефть-ОНПЗ», а также ПБВ других производителей.</a:t>
            </a:r>
          </a:p>
        </p:txBody>
      </p:sp>
      <p:pic>
        <p:nvPicPr>
          <p:cNvPr id="16" name="Picture 4" descr="http://www.uralstroyportal.ru/UserFiles/Image/photo26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23196" y="4205164"/>
            <a:ext cx="2562468" cy="1833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Номер слайда 1"/>
          <p:cNvSpPr txBox="1">
            <a:spLocks noGrp="1"/>
          </p:cNvSpPr>
          <p:nvPr/>
        </p:nvSpPr>
        <p:spPr bwMode="auto">
          <a:xfrm>
            <a:off x="259292" y="6524625"/>
            <a:ext cx="554513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pPr>
              <a:spcBef>
                <a:spcPct val="0"/>
              </a:spcBef>
            </a:pPr>
            <a:r>
              <a:rPr lang="ru-RU" sz="900" b="0" dirty="0">
                <a:solidFill>
                  <a:schemeClr val="bg1"/>
                </a:solidFill>
              </a:rPr>
              <a:t>Опыт производства ПБВ на  Омском НПЗ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3"/>
          <p:cNvSpPr>
            <a:spLocks noChangeArrowheads="1"/>
          </p:cNvSpPr>
          <p:nvPr/>
        </p:nvSpPr>
        <p:spPr bwMode="auto">
          <a:xfrm>
            <a:off x="220648" y="552841"/>
            <a:ext cx="6804992" cy="710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600" dirty="0"/>
              <a:t>Основные этапы мониторинга   </a:t>
            </a:r>
            <a:r>
              <a:rPr lang="ru-RU" sz="1200" b="0" dirty="0"/>
              <a:t>(на примере опытно-экспериментального участка </a:t>
            </a:r>
            <a:r>
              <a:rPr lang="ru-RU" sz="1200" b="0" kern="0" dirty="0">
                <a:cs typeface="Arial" pitchFamily="34" charset="0"/>
              </a:rPr>
              <a:t>автомобильной дороги А 349 «Барнаул-Рубцовск-до границы с Республикой Казахстан на Семипалатинск» км 85 с применением ПБВ 60 производства Омского НПЗ)</a:t>
            </a:r>
            <a:endParaRPr lang="ru-RU" sz="1200" b="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Номер слайда 1"/>
          <p:cNvSpPr txBox="1">
            <a:spLocks noGrp="1"/>
          </p:cNvSpPr>
          <p:nvPr/>
        </p:nvSpPr>
        <p:spPr bwMode="auto">
          <a:xfrm>
            <a:off x="8442325" y="6524625"/>
            <a:ext cx="5937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r>
              <a:rPr lang="ru-RU" sz="900" dirty="0">
                <a:solidFill>
                  <a:schemeClr val="bg1"/>
                </a:solidFill>
              </a:rPr>
              <a:t>стр. </a:t>
            </a:r>
            <a:fld id="{20E63358-B481-4829-A4EF-5F824183D207}" type="slidenum">
              <a:rPr lang="ru-RU" sz="900">
                <a:solidFill>
                  <a:schemeClr val="bg1"/>
                </a:solidFill>
              </a:rPr>
              <a:pPr/>
              <a:t>11</a:t>
            </a:fld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3" name="Выноска со стрелкой вправо 2"/>
          <p:cNvSpPr/>
          <p:nvPr/>
        </p:nvSpPr>
        <p:spPr>
          <a:xfrm>
            <a:off x="358670" y="1690776"/>
            <a:ext cx="4610145" cy="2138733"/>
          </a:xfrm>
          <a:prstGeom prst="rightArrowCallout">
            <a:avLst/>
          </a:prstGeom>
          <a:noFill/>
          <a:effectLst>
            <a:glow rad="127000">
              <a:schemeClr val="accent1">
                <a:alpha val="44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0" dirty="0">
                <a:solidFill>
                  <a:schemeClr val="tx1"/>
                </a:solidFill>
              </a:rPr>
              <a:t>Предварительная диагностика участка,  проектирование конструкции дорожной одежды</a:t>
            </a:r>
          </a:p>
          <a:p>
            <a:pPr algn="ctr"/>
            <a:endParaRPr lang="ru-RU" sz="1400" dirty="0"/>
          </a:p>
          <a:p>
            <a:pPr algn="ctr"/>
            <a:endParaRPr lang="ru-RU" sz="1400" dirty="0"/>
          </a:p>
          <a:p>
            <a:pPr algn="ctr"/>
            <a:endParaRPr lang="ru-RU" sz="1400" dirty="0"/>
          </a:p>
          <a:p>
            <a:pPr algn="ctr"/>
            <a:endParaRPr lang="ru-RU" sz="1400" dirty="0"/>
          </a:p>
        </p:txBody>
      </p:sp>
      <p:sp>
        <p:nvSpPr>
          <p:cNvPr id="5" name="Выноска со стрелкой вниз 4"/>
          <p:cNvSpPr/>
          <p:nvPr/>
        </p:nvSpPr>
        <p:spPr>
          <a:xfrm>
            <a:off x="5184475" y="1690777"/>
            <a:ext cx="3554712" cy="1587261"/>
          </a:xfrm>
          <a:prstGeom prst="downArrowCallout">
            <a:avLst/>
          </a:prstGeom>
          <a:noFill/>
          <a:effectLst>
            <a:glow rad="127000">
              <a:schemeClr val="accent1">
                <a:alpha val="44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0" dirty="0">
                <a:solidFill>
                  <a:schemeClr val="tx1"/>
                </a:solidFill>
              </a:rPr>
              <a:t>Исследование и согласование с ФКУ </a:t>
            </a:r>
            <a:r>
              <a:rPr lang="ru-RU" sz="1400" b="0" dirty="0" err="1">
                <a:solidFill>
                  <a:schemeClr val="tx1"/>
                </a:solidFill>
              </a:rPr>
              <a:t>Упрдор</a:t>
            </a:r>
            <a:r>
              <a:rPr lang="ru-RU" sz="1400" b="0" dirty="0">
                <a:solidFill>
                  <a:schemeClr val="tx1"/>
                </a:solidFill>
              </a:rPr>
              <a:t> «Алтай» состава ПБВ, отвечающего сложным условиям работы асфальтобетонного покрытия</a:t>
            </a:r>
          </a:p>
        </p:txBody>
      </p:sp>
      <p:sp>
        <p:nvSpPr>
          <p:cNvPr id="7" name="Выноска со стрелкой влево 6"/>
          <p:cNvSpPr/>
          <p:nvPr/>
        </p:nvSpPr>
        <p:spPr>
          <a:xfrm>
            <a:off x="4016434" y="3424687"/>
            <a:ext cx="4940300" cy="2760453"/>
          </a:xfrm>
          <a:prstGeom prst="leftArrowCallout">
            <a:avLst/>
          </a:prstGeom>
          <a:noFill/>
          <a:effectLst>
            <a:glow rad="127000">
              <a:schemeClr val="accent1">
                <a:alpha val="44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0" dirty="0">
                <a:solidFill>
                  <a:schemeClr val="tx1"/>
                </a:solidFill>
              </a:rPr>
              <a:t>Операционный контроль укладки асфальтобетонной смеси, отбор проб вяжущего, асфальтобетона, проведение лабораторных испытаний, составление отчета</a:t>
            </a:r>
          </a:p>
          <a:p>
            <a:pPr algn="ctr"/>
            <a:endParaRPr lang="ru-RU" sz="1400" b="0" dirty="0">
              <a:solidFill>
                <a:schemeClr val="tx1"/>
              </a:solidFill>
            </a:endParaRPr>
          </a:p>
          <a:p>
            <a:pPr algn="ctr"/>
            <a:endParaRPr lang="ru-RU" sz="1400" b="0" dirty="0">
              <a:solidFill>
                <a:schemeClr val="tx1"/>
              </a:solidFill>
            </a:endParaRPr>
          </a:p>
          <a:p>
            <a:pPr algn="ctr"/>
            <a:endParaRPr lang="ru-RU" sz="1400" b="0" dirty="0">
              <a:solidFill>
                <a:schemeClr val="tx1"/>
              </a:solidFill>
            </a:endParaRPr>
          </a:p>
          <a:p>
            <a:pPr algn="ctr"/>
            <a:endParaRPr lang="ru-RU" sz="1400" b="0" dirty="0">
              <a:solidFill>
                <a:schemeClr val="tx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07692" y="4011284"/>
            <a:ext cx="3522919" cy="2173856"/>
          </a:xfrm>
          <a:prstGeom prst="roundRect">
            <a:avLst/>
          </a:prstGeom>
          <a:solidFill>
            <a:schemeClr val="accent1">
              <a:alpha val="10000"/>
            </a:schemeClr>
          </a:solidFill>
          <a:ln w="60325" cmpd="dbl">
            <a:prstDash val="solid"/>
          </a:ln>
          <a:effectLst>
            <a:glow rad="114300">
              <a:schemeClr val="accent1">
                <a:satMod val="175000"/>
                <a:alpha val="16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РЕЗУЛЬТАТ</a:t>
            </a:r>
          </a:p>
          <a:p>
            <a:pPr algn="ctr"/>
            <a:r>
              <a:rPr lang="ru-RU" sz="1400" b="0" dirty="0">
                <a:solidFill>
                  <a:schemeClr val="tx1"/>
                </a:solidFill>
              </a:rPr>
              <a:t>Использованные материалы и проведенные работы полностью отвечают  требованиям нормативно-технической документации</a:t>
            </a:r>
          </a:p>
          <a:p>
            <a:pPr algn="ctr"/>
            <a:r>
              <a:rPr lang="ru-RU" sz="1400" b="0" dirty="0">
                <a:solidFill>
                  <a:schemeClr val="tx1"/>
                </a:solidFill>
              </a:rPr>
              <a:t>В течение 5 лет будет проводится мониторинг состояния устроенного асфальтобетонного покрытия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3710" y="2440234"/>
            <a:ext cx="2397485" cy="1313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80132" y="4783714"/>
            <a:ext cx="2062193" cy="1292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tangle 5"/>
          <p:cNvSpPr>
            <a:spLocks noChangeArrowheads="1"/>
          </p:cNvSpPr>
          <p:nvPr/>
        </p:nvSpPr>
        <p:spPr bwMode="auto">
          <a:xfrm>
            <a:off x="0" y="0"/>
            <a:ext cx="7597775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/>
          <a:lstStyle/>
          <a:p>
            <a:pPr defTabSz="44926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itchFamily="34" charset="0"/>
              <a:buNone/>
              <a:defRPr/>
            </a:pPr>
            <a:r>
              <a:rPr lang="ru-RU" kern="0" dirty="0">
                <a:solidFill>
                  <a:srgbClr val="0066CC"/>
                </a:solidFill>
                <a:latin typeface="Arial" charset="0"/>
              </a:rPr>
              <a:t>Долгосрочный мониторинг экспериментальных участков</a:t>
            </a:r>
          </a:p>
        </p:txBody>
      </p:sp>
      <p:sp>
        <p:nvSpPr>
          <p:cNvPr id="12" name="Номер слайда 1"/>
          <p:cNvSpPr txBox="1">
            <a:spLocks noGrp="1"/>
          </p:cNvSpPr>
          <p:nvPr/>
        </p:nvSpPr>
        <p:spPr bwMode="auto">
          <a:xfrm>
            <a:off x="259292" y="6524625"/>
            <a:ext cx="554513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pPr>
              <a:spcBef>
                <a:spcPct val="0"/>
              </a:spcBef>
            </a:pPr>
            <a:r>
              <a:rPr lang="ru-RU" sz="900" b="0" dirty="0">
                <a:solidFill>
                  <a:schemeClr val="bg1"/>
                </a:solidFill>
              </a:rPr>
              <a:t>Опыт производства ПБВ на  Омском НПЗ</a:t>
            </a:r>
          </a:p>
        </p:txBody>
      </p:sp>
    </p:spTree>
    <p:extLst>
      <p:ext uri="{BB962C8B-B14F-4D97-AF65-F5344CB8AC3E}">
        <p14:creationId xmlns:p14="http://schemas.microsoft.com/office/powerpoint/2010/main" val="12155047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Номер слайда 1"/>
          <p:cNvSpPr txBox="1">
            <a:spLocks noGrp="1"/>
          </p:cNvSpPr>
          <p:nvPr/>
        </p:nvSpPr>
        <p:spPr bwMode="auto">
          <a:xfrm>
            <a:off x="8442330" y="6524679"/>
            <a:ext cx="5937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rgbClr val="FFFFFF"/>
                </a:solidFill>
              </a:rPr>
              <a:t>стр. </a:t>
            </a:r>
            <a:fld id="{49BAF851-81E8-4EFD-9A19-7A8FF566B338}" type="slidenum">
              <a:rPr lang="ru-RU" sz="900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ru-RU" sz="900" dirty="0">
              <a:solidFill>
                <a:srgbClr val="FFFFFF"/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289429" y="830580"/>
            <a:ext cx="7490591" cy="4348210"/>
            <a:chOff x="112324" y="3400549"/>
            <a:chExt cx="8737769" cy="5083298"/>
          </a:xfrm>
        </p:grpSpPr>
        <p:graphicFrame>
          <p:nvGraphicFramePr>
            <p:cNvPr id="2" name="Диаграмма 1"/>
            <p:cNvGraphicFramePr/>
            <p:nvPr>
              <p:extLst>
                <p:ext uri="{D42A27DB-BD31-4B8C-83A1-F6EECF244321}">
                  <p14:modId xmlns:p14="http://schemas.microsoft.com/office/powerpoint/2010/main" val="340315244"/>
                </p:ext>
              </p:extLst>
            </p:nvPr>
          </p:nvGraphicFramePr>
          <p:xfrm>
            <a:off x="208437" y="3875336"/>
            <a:ext cx="8641656" cy="460851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3" name="TextBox 2"/>
            <p:cNvSpPr txBox="1"/>
            <p:nvPr/>
          </p:nvSpPr>
          <p:spPr>
            <a:xfrm rot="16200000">
              <a:off x="-325240" y="3838113"/>
              <a:ext cx="115212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000000"/>
                  </a:solidFill>
                  <a:cs typeface="Arial" pitchFamily="34" charset="0"/>
                </a:rPr>
                <a:t>тыс. тонн</a:t>
              </a:r>
            </a:p>
          </p:txBody>
        </p:sp>
        <p:sp>
          <p:nvSpPr>
            <p:cNvPr id="10" name="Rectangle 46"/>
            <p:cNvSpPr>
              <a:spLocks noChangeArrowheads="1"/>
            </p:cNvSpPr>
            <p:nvPr/>
          </p:nvSpPr>
          <p:spPr bwMode="auto">
            <a:xfrm>
              <a:off x="971600" y="5643681"/>
              <a:ext cx="586157" cy="1799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ru-RU" sz="1000" kern="0" dirty="0">
                  <a:solidFill>
                    <a:srgbClr val="000000"/>
                  </a:solidFill>
                  <a:cs typeface="Arial" pitchFamily="34" charset="0"/>
                </a:rPr>
                <a:t>факт</a:t>
              </a:r>
            </a:p>
          </p:txBody>
        </p:sp>
      </p:grpSp>
      <p:sp>
        <p:nvSpPr>
          <p:cNvPr id="15" name="Rectangle 5"/>
          <p:cNvSpPr>
            <a:spLocks noChangeArrowheads="1"/>
          </p:cNvSpPr>
          <p:nvPr/>
        </p:nvSpPr>
        <p:spPr bwMode="auto">
          <a:xfrm>
            <a:off x="0" y="0"/>
            <a:ext cx="7597775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/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pitchFamily="34" charset="0"/>
              <a:buNone/>
              <a:defRPr/>
            </a:pPr>
            <a:r>
              <a:rPr lang="ru-RU" kern="0" dirty="0">
                <a:solidFill>
                  <a:srgbClr val="0066CC"/>
                </a:solidFill>
              </a:rPr>
              <a:t>Прогноз объемов потребления ПБВ в РФ</a:t>
            </a:r>
          </a:p>
        </p:txBody>
      </p:sp>
      <p:sp>
        <p:nvSpPr>
          <p:cNvPr id="16" name="Rectangle 53"/>
          <p:cNvSpPr>
            <a:spLocks noChangeArrowheads="1"/>
          </p:cNvSpPr>
          <p:nvPr/>
        </p:nvSpPr>
        <p:spPr bwMode="auto">
          <a:xfrm>
            <a:off x="1326727" y="537100"/>
            <a:ext cx="5927725" cy="525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>
                <a:solidFill>
                  <a:srgbClr val="000000"/>
                </a:solidFill>
              </a:rPr>
              <a:t>Прогноз потребления и доли ПБВ в общем объеме потребления битумных материалов</a:t>
            </a:r>
          </a:p>
        </p:txBody>
      </p:sp>
      <p:sp>
        <p:nvSpPr>
          <p:cNvPr id="17" name="Rectangle 55"/>
          <p:cNvSpPr>
            <a:spLocks noChangeArrowheads="1"/>
          </p:cNvSpPr>
          <p:nvPr/>
        </p:nvSpPr>
        <p:spPr bwMode="auto">
          <a:xfrm>
            <a:off x="371581" y="5085184"/>
            <a:ext cx="8512680" cy="1152128"/>
          </a:xfrm>
          <a:prstGeom prst="rect">
            <a:avLst/>
          </a:prstGeom>
          <a:solidFill>
            <a:srgbClr val="007AC2">
              <a:alpha val="9019"/>
            </a:srgbClr>
          </a:soli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cap="all" dirty="0">
                <a:solidFill>
                  <a:srgbClr val="4D4D4D"/>
                </a:solidFill>
              </a:rPr>
              <a:t>Основные ТЕНДЕНЦИИ РЫНК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cap="all" dirty="0">
              <a:solidFill>
                <a:srgbClr val="4D4D4D"/>
              </a:solidFill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ru-RU" sz="1200" kern="0" dirty="0">
                <a:solidFill>
                  <a:srgbClr val="000000"/>
                </a:solidFill>
                <a:cs typeface="Arial" pitchFamily="34" charset="0"/>
              </a:rPr>
              <a:t>В рамках текущих тенденций потребление ПБВ к 2015 г. приблизится к 75 тыс. тонн.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ru-RU" sz="1200" kern="0" dirty="0">
                <a:solidFill>
                  <a:srgbClr val="000000"/>
                </a:solidFill>
                <a:cs typeface="Arial" pitchFamily="34" charset="0"/>
              </a:rPr>
              <a:t>К 2030 г. потребление достигнет уровня  330 тыс. тонн, основным сегментом применения будет строительство</a:t>
            </a:r>
            <a:r>
              <a:rPr lang="en-US" sz="1200" kern="0" dirty="0">
                <a:solidFill>
                  <a:srgbClr val="000000"/>
                </a:solidFill>
                <a:cs typeface="Arial" pitchFamily="34" charset="0"/>
              </a:rPr>
              <a:t>/</a:t>
            </a:r>
            <a:r>
              <a:rPr lang="ru-RU" sz="1200" kern="0" dirty="0">
                <a:solidFill>
                  <a:srgbClr val="000000"/>
                </a:solidFill>
                <a:cs typeface="Arial" pitchFamily="34" charset="0"/>
              </a:rPr>
              <a:t>реконструкция дорог с высокой интенсивностью движения.</a:t>
            </a:r>
          </a:p>
        </p:txBody>
      </p:sp>
      <p:sp>
        <p:nvSpPr>
          <p:cNvPr id="12" name="Номер слайда 1"/>
          <p:cNvSpPr txBox="1">
            <a:spLocks noGrp="1"/>
          </p:cNvSpPr>
          <p:nvPr/>
        </p:nvSpPr>
        <p:spPr bwMode="auto">
          <a:xfrm>
            <a:off x="259292" y="6524625"/>
            <a:ext cx="554513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pPr>
              <a:spcBef>
                <a:spcPct val="0"/>
              </a:spcBef>
            </a:pPr>
            <a:r>
              <a:rPr lang="ru-RU" sz="900" b="0" dirty="0">
                <a:solidFill>
                  <a:schemeClr val="bg1"/>
                </a:solidFill>
              </a:rPr>
              <a:t>Опыт производства ПБВ на  Омском НПЗ</a:t>
            </a:r>
          </a:p>
        </p:txBody>
      </p:sp>
    </p:spTree>
    <p:extLst>
      <p:ext uri="{BB962C8B-B14F-4D97-AF65-F5344CB8AC3E}">
        <p14:creationId xmlns:p14="http://schemas.microsoft.com/office/powerpoint/2010/main" val="3272340162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Rectangle 55"/>
          <p:cNvSpPr>
            <a:spLocks noChangeArrowheads="1"/>
          </p:cNvSpPr>
          <p:nvPr/>
        </p:nvSpPr>
        <p:spPr bwMode="auto">
          <a:xfrm>
            <a:off x="268288" y="1871449"/>
            <a:ext cx="5900737" cy="2018163"/>
          </a:xfrm>
          <a:prstGeom prst="rect">
            <a:avLst/>
          </a:prstGeom>
          <a:solidFill>
            <a:srgbClr val="007AC2">
              <a:alpha val="9019"/>
            </a:srgbClr>
          </a:soli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marL="174625" indent="-174625">
              <a:lnSpc>
                <a:spcPct val="85000"/>
              </a:lnSpc>
              <a:spcBef>
                <a:spcPct val="30000"/>
              </a:spcBef>
              <a:defRPr/>
            </a:pPr>
            <a:r>
              <a:rPr lang="ru-RU" sz="1200" kern="0" dirty="0">
                <a:solidFill>
                  <a:srgbClr val="007AC2"/>
                </a:solidFill>
                <a:cs typeface="Arial" pitchFamily="34" charset="0"/>
              </a:rPr>
              <a:t>Новые проекты:</a:t>
            </a:r>
          </a:p>
          <a:p>
            <a:pPr marL="174625" indent="-174625">
              <a:lnSpc>
                <a:spcPct val="85000"/>
              </a:lnSpc>
              <a:spcBef>
                <a:spcPct val="30000"/>
              </a:spcBef>
              <a:defRPr/>
            </a:pPr>
            <a:r>
              <a:rPr lang="ru-RU" sz="1200" dirty="0">
                <a:solidFill>
                  <a:srgbClr val="4D4D4D"/>
                </a:solidFill>
              </a:rPr>
              <a:t>ОМСКИЙ НПЗ</a:t>
            </a:r>
          </a:p>
          <a:p>
            <a:pPr fontAlgn="auto">
              <a:spcBef>
                <a:spcPts val="0"/>
              </a:spcBef>
              <a:spcAft>
                <a:spcPct val="10000"/>
              </a:spcAft>
              <a:defRPr/>
            </a:pPr>
            <a:endParaRPr lang="ru-RU" sz="800" b="0" kern="0" dirty="0">
              <a:cs typeface="Arial" pitchFamily="34" charset="0"/>
            </a:endParaRPr>
          </a:p>
          <a:p>
            <a:pPr marL="171450" indent="-171450" fontAlgn="auto">
              <a:spcBef>
                <a:spcPts val="0"/>
              </a:spcBef>
              <a:spcAft>
                <a:spcPct val="10000"/>
              </a:spcAft>
              <a:buFont typeface="Wingdings" pitchFamily="2" charset="2"/>
              <a:buChar char="§"/>
              <a:defRPr/>
            </a:pPr>
            <a:r>
              <a:rPr lang="ru-RU" sz="1200" kern="0" dirty="0">
                <a:cs typeface="Arial" pitchFamily="34" charset="0"/>
              </a:rPr>
              <a:t>Линия по затариванию ПБВ</a:t>
            </a:r>
          </a:p>
          <a:p>
            <a:pPr marL="171450" indent="-171450" fontAlgn="auto">
              <a:spcBef>
                <a:spcPts val="0"/>
              </a:spcBef>
              <a:spcAft>
                <a:spcPct val="10000"/>
              </a:spcAft>
              <a:buFont typeface="Wingdings" pitchFamily="2" charset="2"/>
              <a:buChar char="§"/>
              <a:defRPr/>
            </a:pPr>
            <a:r>
              <a:rPr lang="ru-RU" sz="1200" kern="0" dirty="0">
                <a:cs typeface="Arial" pitchFamily="34" charset="0"/>
              </a:rPr>
              <a:t>Утепление установки по производству ПБВ</a:t>
            </a:r>
          </a:p>
          <a:p>
            <a:pPr marL="174625" indent="-174625">
              <a:lnSpc>
                <a:spcPct val="85000"/>
              </a:lnSpc>
              <a:spcBef>
                <a:spcPct val="30000"/>
              </a:spcBef>
              <a:defRPr/>
            </a:pPr>
            <a:endParaRPr lang="ru-RU" sz="1200" kern="0" dirty="0">
              <a:solidFill>
                <a:srgbClr val="4D4D4D"/>
              </a:solidFill>
              <a:cs typeface="Arial" pitchFamily="34" charset="0"/>
            </a:endParaRPr>
          </a:p>
          <a:p>
            <a:pPr marL="174625" indent="-174625">
              <a:lnSpc>
                <a:spcPct val="85000"/>
              </a:lnSpc>
              <a:spcBef>
                <a:spcPct val="30000"/>
              </a:spcBef>
              <a:defRPr/>
            </a:pPr>
            <a:r>
              <a:rPr lang="ru-RU" sz="1200" dirty="0">
                <a:solidFill>
                  <a:srgbClr val="4D4D4D"/>
                </a:solidFill>
              </a:rPr>
              <a:t>МОСКОВСКИЙ НПЗ</a:t>
            </a:r>
          </a:p>
          <a:p>
            <a:pPr marL="174625" indent="-174625">
              <a:lnSpc>
                <a:spcPct val="85000"/>
              </a:lnSpc>
              <a:spcBef>
                <a:spcPct val="30000"/>
              </a:spcBef>
              <a:defRPr/>
            </a:pPr>
            <a:endParaRPr lang="ru-RU" sz="1200" kern="0" dirty="0">
              <a:solidFill>
                <a:srgbClr val="007AC2"/>
              </a:solidFill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ct val="10000"/>
              </a:spcAft>
              <a:buFont typeface="Wingdings" pitchFamily="2" charset="2"/>
              <a:buChar char="§"/>
              <a:defRPr/>
            </a:pPr>
            <a:r>
              <a:rPr lang="ru-RU" sz="1200" kern="0" dirty="0">
                <a:cs typeface="Arial" pitchFamily="34" charset="0"/>
              </a:rPr>
              <a:t>Строительство установки по производству ПБВ</a:t>
            </a:r>
            <a:endParaRPr lang="en-US" sz="1200" kern="0" dirty="0">
              <a:cs typeface="Arial" pitchFamily="34" charset="0"/>
            </a:endParaRPr>
          </a:p>
        </p:txBody>
      </p:sp>
      <p:sp>
        <p:nvSpPr>
          <p:cNvPr id="8196" name="Номер слайда 5"/>
          <p:cNvSpPr txBox="1">
            <a:spLocks noGrp="1"/>
          </p:cNvSpPr>
          <p:nvPr/>
        </p:nvSpPr>
        <p:spPr bwMode="auto">
          <a:xfrm>
            <a:off x="8483600" y="6573838"/>
            <a:ext cx="331788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</a:pPr>
            <a:r>
              <a:rPr lang="ru-RU" sz="900" b="0" dirty="0">
                <a:solidFill>
                  <a:schemeClr val="bg1"/>
                </a:solidFill>
              </a:rPr>
              <a:t>стр.</a:t>
            </a:r>
            <a:fld id="{141B1264-3A7C-4441-A360-ED8052F01077}" type="slidenum">
              <a:rPr lang="ru-RU" sz="900" b="0">
                <a:solidFill>
                  <a:schemeClr val="bg1"/>
                </a:solidFill>
              </a:rPr>
              <a:pPr algn="r">
                <a:spcBef>
                  <a:spcPct val="0"/>
                </a:spcBef>
              </a:pPr>
              <a:t>13</a:t>
            </a:fld>
            <a:endParaRPr lang="ru-RU" sz="900" b="0" dirty="0">
              <a:solidFill>
                <a:schemeClr val="bg1"/>
              </a:solidFill>
            </a:endParaRPr>
          </a:p>
        </p:txBody>
      </p:sp>
      <p:sp>
        <p:nvSpPr>
          <p:cNvPr id="8199" name="Rectangle 5"/>
          <p:cNvSpPr>
            <a:spLocks noChangeArrowheads="1"/>
          </p:cNvSpPr>
          <p:nvPr/>
        </p:nvSpPr>
        <p:spPr bwMode="auto">
          <a:xfrm>
            <a:off x="0" y="0"/>
            <a:ext cx="7559675" cy="9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/>
          <a:lstStyle/>
          <a:p>
            <a:r>
              <a:rPr lang="ru-RU" dirty="0">
                <a:solidFill>
                  <a:srgbClr val="0066CC"/>
                </a:solidFill>
              </a:rPr>
              <a:t>Развитию производства ПБВ на Омском и Московском НПЗ</a:t>
            </a:r>
          </a:p>
        </p:txBody>
      </p:sp>
      <p:sp>
        <p:nvSpPr>
          <p:cNvPr id="9" name="Rectangle 53"/>
          <p:cNvSpPr>
            <a:spLocks noChangeArrowheads="1"/>
          </p:cNvSpPr>
          <p:nvPr/>
        </p:nvSpPr>
        <p:spPr bwMode="auto">
          <a:xfrm>
            <a:off x="276225" y="1084263"/>
            <a:ext cx="5927725" cy="586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lang="ru-RU" sz="1600" b="0" dirty="0"/>
              <a:t>Цель инвестиционной программы НПЗ – увеличение объемов производства и повышение качества продукции</a:t>
            </a:r>
          </a:p>
        </p:txBody>
      </p:sp>
      <p:pic>
        <p:nvPicPr>
          <p:cNvPr id="13" name="Picture 2" descr="2360b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51375" y="2350077"/>
            <a:ext cx="4180491" cy="173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Пятиугольник 17"/>
          <p:cNvSpPr/>
          <p:nvPr/>
        </p:nvSpPr>
        <p:spPr>
          <a:xfrm>
            <a:off x="2158660" y="4193595"/>
            <a:ext cx="6873206" cy="2076576"/>
          </a:xfrm>
          <a:prstGeom prst="homePlate">
            <a:avLst>
              <a:gd name="adj" fmla="val 477"/>
            </a:avLst>
          </a:prstGeom>
          <a:solidFill>
            <a:srgbClr val="BFD5EF"/>
          </a:solidFill>
          <a:ln w="25400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kern="0" dirty="0">
              <a:solidFill>
                <a:srgbClr val="FFFFFF"/>
              </a:solidFill>
            </a:endParaRPr>
          </a:p>
        </p:txBody>
      </p:sp>
      <p:sp>
        <p:nvSpPr>
          <p:cNvPr id="19" name="Пятиугольник 18"/>
          <p:cNvSpPr/>
          <p:nvPr/>
        </p:nvSpPr>
        <p:spPr>
          <a:xfrm>
            <a:off x="2216892" y="4265604"/>
            <a:ext cx="6649080" cy="751814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25400" cap="flat" cmpd="sng" algn="ctr">
            <a:solidFill>
              <a:srgbClr val="ADB8E2">
                <a:lumMod val="20000"/>
                <a:lumOff val="80000"/>
              </a:srgb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lvl="0" indent="361950" algn="just" fontAlgn="auto">
              <a:spcBef>
                <a:spcPts val="0"/>
              </a:spcBef>
              <a:spcAft>
                <a:spcPct val="10000"/>
              </a:spcAft>
              <a:defRPr/>
            </a:pPr>
            <a:r>
              <a:rPr lang="ru-RU" sz="1100" kern="0" dirty="0">
                <a:cs typeface="Arial" pitchFamily="34" charset="0"/>
              </a:rPr>
              <a:t>В 2012 год в рамках совместного сотрудничества с региональными дорожно-строительными организациями запланировано устройство асфальтобетонных дорог </a:t>
            </a:r>
            <a:r>
              <a:rPr lang="ru-RU" sz="1100" kern="0" dirty="0">
                <a:solidFill>
                  <a:srgbClr val="0B70B5"/>
                </a:solidFill>
                <a:cs typeface="Arial" pitchFamily="34" charset="0"/>
              </a:rPr>
              <a:t>в Ханты-Мансийском и Ямало-ненецком автономных округах</a:t>
            </a:r>
            <a:r>
              <a:rPr lang="ru-RU" sz="1100" kern="0" dirty="0">
                <a:cs typeface="Arial" pitchFamily="34" charset="0"/>
              </a:rPr>
              <a:t> с использованием ПБВ производства Омского НПЗ.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2218427" y="5789429"/>
            <a:ext cx="6649080" cy="399654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25400" cap="flat" cmpd="sng" algn="ctr">
            <a:solidFill>
              <a:srgbClr val="ADB8E2">
                <a:lumMod val="20000"/>
                <a:lumOff val="80000"/>
              </a:srgb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just">
              <a:defRPr/>
            </a:pPr>
            <a:r>
              <a:rPr lang="ru-RU" sz="1100" kern="0" dirty="0">
                <a:solidFill>
                  <a:srgbClr val="000000"/>
                </a:solidFill>
                <a:cs typeface="Arial" pitchFamily="34" charset="0"/>
              </a:rPr>
              <a:t>Устройство участков автомобильных дорог с использованием полимерной битумной эмульсии производства Омского НПЗ.</a:t>
            </a:r>
            <a:endParaRPr lang="ru-RU" sz="11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Пятиугольник 20"/>
          <p:cNvSpPr/>
          <p:nvPr/>
        </p:nvSpPr>
        <p:spPr>
          <a:xfrm>
            <a:off x="2216892" y="5151416"/>
            <a:ext cx="6649080" cy="539700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25400" cap="flat" cmpd="sng" algn="ctr">
            <a:solidFill>
              <a:srgbClr val="ADB8E2">
                <a:lumMod val="20000"/>
                <a:lumOff val="80000"/>
              </a:srgbClr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>
              <a:defRPr/>
            </a:pPr>
            <a:r>
              <a:rPr lang="ru-RU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Разработка новых рецептур ПБВ для использования при строительстве автомобильных дорог с  грузонапряженностью и высокой интенсивностью движения (например, на объектах ГК «</a:t>
            </a:r>
            <a:r>
              <a:rPr lang="ru-RU" sz="1100" kern="0" dirty="0" err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Автодор</a:t>
            </a:r>
            <a:r>
              <a:rPr lang="ru-RU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»).</a:t>
            </a:r>
          </a:p>
        </p:txBody>
      </p:sp>
      <p:sp>
        <p:nvSpPr>
          <p:cNvPr id="22" name="Пятиугольник 21"/>
          <p:cNvSpPr/>
          <p:nvPr/>
        </p:nvSpPr>
        <p:spPr>
          <a:xfrm>
            <a:off x="221944" y="4160331"/>
            <a:ext cx="1778470" cy="2109840"/>
          </a:xfrm>
          <a:prstGeom prst="homePlate">
            <a:avLst>
              <a:gd name="adj" fmla="val 18610"/>
            </a:avLst>
          </a:prstGeom>
          <a:solidFill>
            <a:srgbClr val="006699"/>
          </a:solidFill>
          <a:ln w="25400" cap="flat" cmpd="sng" algn="ctr">
            <a:solidFill>
              <a:srgbClr val="3366CC">
                <a:lumMod val="20000"/>
                <a:lumOff val="80000"/>
              </a:srgbClr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1400" kern="0" dirty="0">
                <a:solidFill>
                  <a:srgbClr val="FFFFFF"/>
                </a:solidFill>
                <a:latin typeface="Arial" charset="0"/>
              </a:rPr>
              <a:t>Расширение сотрудничества </a:t>
            </a:r>
          </a:p>
        </p:txBody>
      </p:sp>
      <p:sp>
        <p:nvSpPr>
          <p:cNvPr id="15" name="Номер слайда 1"/>
          <p:cNvSpPr txBox="1">
            <a:spLocks noGrp="1"/>
          </p:cNvSpPr>
          <p:nvPr/>
        </p:nvSpPr>
        <p:spPr bwMode="auto">
          <a:xfrm>
            <a:off x="259292" y="6524625"/>
            <a:ext cx="554513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pPr>
              <a:spcBef>
                <a:spcPct val="0"/>
              </a:spcBef>
            </a:pPr>
            <a:r>
              <a:rPr lang="ru-RU" sz="900" b="0" dirty="0">
                <a:solidFill>
                  <a:schemeClr val="bg1"/>
                </a:solidFill>
              </a:rPr>
              <a:t>Опыт производства ПБВ на  Омском НПЗ</a:t>
            </a:r>
          </a:p>
        </p:txBody>
      </p:sp>
    </p:spTree>
    <p:extLst>
      <p:ext uri="{BB962C8B-B14F-4D97-AF65-F5344CB8AC3E}">
        <p14:creationId xmlns:p14="http://schemas.microsoft.com/office/powerpoint/2010/main" val="8094914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1"/>
          <p:cNvSpPr txBox="1">
            <a:spLocks noGrp="1"/>
          </p:cNvSpPr>
          <p:nvPr/>
        </p:nvSpPr>
        <p:spPr bwMode="auto">
          <a:xfrm>
            <a:off x="8442325" y="6524625"/>
            <a:ext cx="5937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r>
              <a:rPr lang="ru-RU" sz="900" dirty="0">
                <a:solidFill>
                  <a:schemeClr val="bg1"/>
                </a:solidFill>
              </a:rPr>
              <a:t>стр. </a:t>
            </a:r>
            <a:fld id="{20E63358-B481-4829-A4EF-5F824183D207}" type="slidenum">
              <a:rPr lang="ru-RU" sz="900">
                <a:solidFill>
                  <a:schemeClr val="bg1"/>
                </a:solidFill>
              </a:rPr>
              <a:pPr/>
              <a:t>14</a:t>
            </a:fld>
            <a:endParaRPr lang="ru-RU" sz="900" dirty="0">
              <a:solidFill>
                <a:schemeClr val="bg1"/>
              </a:solidFill>
            </a:endParaRPr>
          </a:p>
        </p:txBody>
      </p:sp>
      <p:pic>
        <p:nvPicPr>
          <p:cNvPr id="6" name="Picture 3" descr="I:\My Pictures\Провал 3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6265" y="1091799"/>
            <a:ext cx="3550721" cy="218544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4" descr="I:\My Pictures\Провал на дороге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39497" y="1107390"/>
            <a:ext cx="3896982" cy="216985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Прямоугольник 3"/>
          <p:cNvSpPr/>
          <p:nvPr/>
        </p:nvSpPr>
        <p:spPr>
          <a:xfrm>
            <a:off x="2321625" y="468279"/>
            <a:ext cx="445654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/>
              <a:t>НАДОЕЛО ЛАТАТЬ ДЫРЫ?!</a:t>
            </a:r>
          </a:p>
        </p:txBody>
      </p:sp>
      <p:pic>
        <p:nvPicPr>
          <p:cNvPr id="8" name="Picture 2" descr="C:\Users\gorbatovskiy.aa\Desktop\РАБОЧИЕ ДОКУМЕНТЫ\Дорожник 92\Фото объекты строительства и ремонта\КАД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7120" y="3868068"/>
            <a:ext cx="3333790" cy="249617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876344" y="3392712"/>
            <a:ext cx="361727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dirty="0"/>
              <a:t>ИСПОЛЬЗУЙ   ПБВ!</a:t>
            </a:r>
          </a:p>
        </p:txBody>
      </p:sp>
      <p:sp>
        <p:nvSpPr>
          <p:cNvPr id="11" name="Номер слайда 1"/>
          <p:cNvSpPr txBox="1">
            <a:spLocks noGrp="1"/>
          </p:cNvSpPr>
          <p:nvPr/>
        </p:nvSpPr>
        <p:spPr bwMode="auto">
          <a:xfrm>
            <a:off x="259292" y="6524625"/>
            <a:ext cx="554513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pPr>
              <a:spcBef>
                <a:spcPct val="0"/>
              </a:spcBef>
            </a:pPr>
            <a:r>
              <a:rPr lang="ru-RU" sz="900" b="0" dirty="0">
                <a:solidFill>
                  <a:schemeClr val="bg1"/>
                </a:solidFill>
              </a:rPr>
              <a:t>Опыт производства ПБВ на  Омском НПЗ</a:t>
            </a:r>
          </a:p>
        </p:txBody>
      </p:sp>
    </p:spTree>
    <p:extLst>
      <p:ext uri="{BB962C8B-B14F-4D97-AF65-F5344CB8AC3E}">
        <p14:creationId xmlns:p14="http://schemas.microsoft.com/office/powerpoint/2010/main" val="36389857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1"/>
          <p:cNvSpPr txBox="1">
            <a:spLocks noGrp="1"/>
          </p:cNvSpPr>
          <p:nvPr/>
        </p:nvSpPr>
        <p:spPr bwMode="auto">
          <a:xfrm>
            <a:off x="8442325" y="6524625"/>
            <a:ext cx="5937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r>
              <a:rPr lang="ru-RU" sz="900" dirty="0">
                <a:solidFill>
                  <a:schemeClr val="bg1"/>
                </a:solidFill>
              </a:rPr>
              <a:t>стр. </a:t>
            </a:r>
            <a:fld id="{20E63358-B481-4829-A4EF-5F824183D207}" type="slidenum">
              <a:rPr lang="ru-RU" sz="900">
                <a:solidFill>
                  <a:schemeClr val="bg1"/>
                </a:solidFill>
              </a:rPr>
              <a:pPr/>
              <a:t>15</a:t>
            </a:fld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0" y="0"/>
            <a:ext cx="7597775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/>
          <a:lstStyle/>
          <a:p>
            <a:pPr defTabSz="44926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itchFamily="34" charset="0"/>
              <a:buNone/>
              <a:defRPr/>
            </a:pPr>
            <a:r>
              <a:rPr lang="ru-RU" kern="0" dirty="0">
                <a:solidFill>
                  <a:srgbClr val="0066CC"/>
                </a:solidFill>
                <a:latin typeface="Arial" charset="0"/>
              </a:rPr>
              <a:t>Приложение 1</a:t>
            </a:r>
          </a:p>
        </p:txBody>
      </p:sp>
      <p:sp>
        <p:nvSpPr>
          <p:cNvPr id="2" name="Управляющая кнопка: назад 1">
            <a:hlinkClick r:id="rId3" action="ppaction://hlinksldjump" highlightClick="1"/>
          </p:cNvPr>
          <p:cNvSpPr/>
          <p:nvPr/>
        </p:nvSpPr>
        <p:spPr>
          <a:xfrm>
            <a:off x="7897091" y="5735782"/>
            <a:ext cx="545234" cy="356260"/>
          </a:xfrm>
          <a:prstGeom prst="actionButtonBackPrevious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/>
          <p:cNvSpPr txBox="1">
            <a:spLocks noGrp="1"/>
          </p:cNvSpPr>
          <p:nvPr/>
        </p:nvSpPr>
        <p:spPr bwMode="auto">
          <a:xfrm>
            <a:off x="259292" y="6524625"/>
            <a:ext cx="554513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pPr>
              <a:spcBef>
                <a:spcPct val="0"/>
              </a:spcBef>
            </a:pPr>
            <a:r>
              <a:rPr lang="ru-RU" sz="900" b="0" dirty="0">
                <a:solidFill>
                  <a:schemeClr val="bg1"/>
                </a:solidFill>
              </a:rPr>
              <a:t>Опыт производства ПБВ на  Омском НПЗ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6875" y="620713"/>
            <a:ext cx="7200900" cy="56159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934359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1"/>
          <p:cNvSpPr txBox="1">
            <a:spLocks noGrp="1"/>
          </p:cNvSpPr>
          <p:nvPr/>
        </p:nvSpPr>
        <p:spPr bwMode="auto">
          <a:xfrm>
            <a:off x="8442325" y="6524625"/>
            <a:ext cx="5937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r>
              <a:rPr lang="ru-RU" sz="900" dirty="0">
                <a:solidFill>
                  <a:schemeClr val="bg1"/>
                </a:solidFill>
              </a:rPr>
              <a:t>стр. </a:t>
            </a:r>
            <a:fld id="{20E63358-B481-4829-A4EF-5F824183D207}" type="slidenum">
              <a:rPr lang="ru-RU" sz="900">
                <a:solidFill>
                  <a:schemeClr val="bg1"/>
                </a:solidFill>
              </a:rPr>
              <a:pPr/>
              <a:t>16</a:t>
            </a:fld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0" y="0"/>
            <a:ext cx="7597775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/>
          <a:lstStyle/>
          <a:p>
            <a:pPr defTabSz="44926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itchFamily="34" charset="0"/>
              <a:buNone/>
              <a:defRPr/>
            </a:pPr>
            <a:r>
              <a:rPr lang="ru-RU" kern="0" dirty="0">
                <a:solidFill>
                  <a:srgbClr val="0066CC"/>
                </a:solidFill>
                <a:latin typeface="Arial" charset="0"/>
              </a:rPr>
              <a:t>Приложение 2</a:t>
            </a:r>
          </a:p>
        </p:txBody>
      </p:sp>
      <p:sp>
        <p:nvSpPr>
          <p:cNvPr id="2" name="Управляющая кнопка: назад 1">
            <a:hlinkClick r:id="rId3" action="ppaction://hlinksldjump" highlightClick="1"/>
          </p:cNvPr>
          <p:cNvSpPr/>
          <p:nvPr/>
        </p:nvSpPr>
        <p:spPr>
          <a:xfrm>
            <a:off x="7897091" y="5735782"/>
            <a:ext cx="545234" cy="356260"/>
          </a:xfrm>
          <a:prstGeom prst="actionButtonBackPrevious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/>
          <p:cNvSpPr txBox="1">
            <a:spLocks noGrp="1"/>
          </p:cNvSpPr>
          <p:nvPr/>
        </p:nvSpPr>
        <p:spPr bwMode="auto">
          <a:xfrm>
            <a:off x="259292" y="6524625"/>
            <a:ext cx="554513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pPr>
              <a:spcBef>
                <a:spcPct val="0"/>
              </a:spcBef>
            </a:pPr>
            <a:r>
              <a:rPr lang="ru-RU" sz="900" b="0" dirty="0">
                <a:solidFill>
                  <a:schemeClr val="bg1"/>
                </a:solidFill>
              </a:rPr>
              <a:t>Опыт производства ПБВ на  Омском НПЗ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99560" y="697135"/>
            <a:ext cx="3659047" cy="518524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20253" y="1238565"/>
            <a:ext cx="3649980" cy="496391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244984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55"/>
          <p:cNvSpPr>
            <a:spLocks noChangeArrowheads="1"/>
          </p:cNvSpPr>
          <p:nvPr/>
        </p:nvSpPr>
        <p:spPr bwMode="auto">
          <a:xfrm>
            <a:off x="296864" y="1638300"/>
            <a:ext cx="4818062" cy="1971675"/>
          </a:xfrm>
          <a:prstGeom prst="rect">
            <a:avLst/>
          </a:prstGeom>
          <a:solidFill>
            <a:schemeClr val="tx2">
              <a:lumMod val="60000"/>
              <a:lumOff val="40000"/>
              <a:alpha val="9019"/>
            </a:schemeClr>
          </a:soli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>
              <a:spcBef>
                <a:spcPts val="600"/>
              </a:spcBef>
              <a:defRPr/>
            </a:pPr>
            <a:r>
              <a:rPr lang="ru-RU" sz="1200" kern="0" dirty="0">
                <a:solidFill>
                  <a:schemeClr val="tx2">
                    <a:lumMod val="60000"/>
                    <a:lumOff val="40000"/>
                  </a:schemeClr>
                </a:solidFill>
                <a:cs typeface="Arial" pitchFamily="34" charset="0"/>
              </a:rPr>
              <a:t>Основные битумные производственные мощности Компании расположены на НПЗ:</a:t>
            </a:r>
          </a:p>
          <a:p>
            <a:pPr marL="180975" indent="-180975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ru-RU" sz="1200" b="0" kern="0" dirty="0">
                <a:cs typeface="Arial" pitchFamily="34" charset="0"/>
              </a:rPr>
              <a:t>ОАО «Газпромнефть-Омский НПЗ», </a:t>
            </a:r>
          </a:p>
          <a:p>
            <a:pPr marL="180975" indent="-180975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ru-RU" sz="1200" b="0" kern="0" dirty="0">
                <a:cs typeface="Arial" pitchFamily="34" charset="0"/>
              </a:rPr>
              <a:t>ОАО «Газпромнефть-Московский НПЗ»,</a:t>
            </a:r>
          </a:p>
          <a:p>
            <a:pPr marL="180975" indent="-180975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ru-RU" sz="1200" b="0" kern="0" dirty="0">
                <a:cs typeface="Arial" pitchFamily="34" charset="0"/>
              </a:rPr>
              <a:t>ОАО «Славнефть-Ярославнефтеоргсинтез», </a:t>
            </a:r>
          </a:p>
          <a:p>
            <a:pPr marL="180975" indent="-180975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ru-RU" sz="1200" b="0" kern="0" dirty="0">
                <a:cs typeface="Arial" pitchFamily="34" charset="0"/>
              </a:rPr>
              <a:t>НПЗ в г. Панчево и г. Нови-Сад (нефтяная компания NIS, Республика Сербия)</a:t>
            </a:r>
          </a:p>
        </p:txBody>
      </p:sp>
      <p:sp>
        <p:nvSpPr>
          <p:cNvPr id="6147" name="Rectangle 5"/>
          <p:cNvSpPr>
            <a:spLocks noChangeArrowheads="1"/>
          </p:cNvSpPr>
          <p:nvPr/>
        </p:nvSpPr>
        <p:spPr bwMode="auto">
          <a:xfrm>
            <a:off x="0" y="0"/>
            <a:ext cx="7597775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/>
          <a:lstStyle/>
          <a:p>
            <a:r>
              <a:rPr lang="ru-RU" dirty="0">
                <a:solidFill>
                  <a:srgbClr val="0066CC"/>
                </a:solidFill>
              </a:rPr>
              <a:t>Битумный бизнес «Газпром нефть» сегодня</a:t>
            </a:r>
          </a:p>
        </p:txBody>
      </p:sp>
      <p:sp>
        <p:nvSpPr>
          <p:cNvPr id="6150" name="Номер слайда 1"/>
          <p:cNvSpPr txBox="1">
            <a:spLocks noGrp="1"/>
          </p:cNvSpPr>
          <p:nvPr/>
        </p:nvSpPr>
        <p:spPr bwMode="auto">
          <a:xfrm>
            <a:off x="8442325" y="6524625"/>
            <a:ext cx="5937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r>
              <a:rPr lang="ru-RU" sz="900" dirty="0">
                <a:solidFill>
                  <a:srgbClr val="FFFFFF"/>
                </a:solidFill>
              </a:rPr>
              <a:t>стр. </a:t>
            </a:r>
            <a:fld id="{1182C7D6-0C58-459D-A3D2-AE216519F860}" type="slidenum">
              <a:rPr lang="ru-RU" sz="900">
                <a:solidFill>
                  <a:srgbClr val="FFFFFF"/>
                </a:solidFill>
              </a:rPr>
              <a:pPr/>
              <a:t>2</a:t>
            </a:fld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6151" name="Номер слайда 1"/>
          <p:cNvSpPr txBox="1">
            <a:spLocks noGrp="1"/>
          </p:cNvSpPr>
          <p:nvPr/>
        </p:nvSpPr>
        <p:spPr bwMode="auto">
          <a:xfrm>
            <a:off x="259292" y="6524625"/>
            <a:ext cx="554513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pPr>
              <a:spcBef>
                <a:spcPct val="0"/>
              </a:spcBef>
            </a:pPr>
            <a:r>
              <a:rPr lang="ru-RU" sz="900" b="0" dirty="0">
                <a:solidFill>
                  <a:schemeClr val="bg1"/>
                </a:solidFill>
              </a:rPr>
              <a:t>Опыт производства ПБВ на  Омском НПЗ</a:t>
            </a:r>
          </a:p>
        </p:txBody>
      </p:sp>
      <p:sp>
        <p:nvSpPr>
          <p:cNvPr id="6152" name="Text Box 74"/>
          <p:cNvSpPr txBox="1">
            <a:spLocks noChangeArrowheads="1"/>
          </p:cNvSpPr>
          <p:nvPr/>
        </p:nvSpPr>
        <p:spPr bwMode="auto">
          <a:xfrm>
            <a:off x="152400" y="646113"/>
            <a:ext cx="7696200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indent="628650" algn="just">
              <a:spcBef>
                <a:spcPts val="600"/>
              </a:spcBef>
            </a:pPr>
            <a:r>
              <a:rPr lang="ru-RU" sz="1600" dirty="0">
                <a:solidFill>
                  <a:schemeClr val="accent1">
                    <a:lumMod val="75000"/>
                  </a:schemeClr>
                </a:solidFill>
              </a:rPr>
              <a:t>ОАО «Газпром нефть» – одна из крупнейших и динамично развивающихся вертикально-интегрированных нефтяных компаний России, имеющая специализированное битумное подразделение. </a:t>
            </a:r>
          </a:p>
        </p:txBody>
      </p:sp>
      <p:sp>
        <p:nvSpPr>
          <p:cNvPr id="22" name="TextBox 3"/>
          <p:cNvSpPr txBox="1">
            <a:spLocks noChangeArrowheads="1"/>
          </p:cNvSpPr>
          <p:nvPr/>
        </p:nvSpPr>
        <p:spPr bwMode="auto">
          <a:xfrm>
            <a:off x="5478405" y="1587465"/>
            <a:ext cx="3370320" cy="430887"/>
          </a:xfrm>
          <a:prstGeom prst="rect">
            <a:avLst/>
          </a:prstGeom>
          <a:noFill/>
          <a:ln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kern="0" dirty="0">
                <a:solidFill>
                  <a:srgbClr val="336699"/>
                </a:solidFill>
                <a:latin typeface="Arial"/>
              </a:rPr>
              <a:t>Увеличение объемов реализации битумных материалов, тыс. тонн</a:t>
            </a:r>
          </a:p>
        </p:txBody>
      </p:sp>
      <p:grpSp>
        <p:nvGrpSpPr>
          <p:cNvPr id="26" name="Группа 179"/>
          <p:cNvGrpSpPr/>
          <p:nvPr>
            <p:custDataLst>
              <p:tags r:id="rId1"/>
            </p:custDataLst>
          </p:nvPr>
        </p:nvGrpSpPr>
        <p:grpSpPr>
          <a:xfrm>
            <a:off x="492882" y="3629025"/>
            <a:ext cx="4241043" cy="2428874"/>
            <a:chOff x="859456" y="847625"/>
            <a:chExt cx="8424044" cy="5313562"/>
          </a:xfrm>
          <a:solidFill>
            <a:schemeClr val="accent3">
              <a:lumMod val="20000"/>
              <a:lumOff val="80000"/>
              <a:alpha val="0"/>
            </a:schemeClr>
          </a:solidFill>
        </p:grpSpPr>
        <p:sp>
          <p:nvSpPr>
            <p:cNvPr id="27" name="Freeform 4"/>
            <p:cNvSpPr>
              <a:spLocks/>
            </p:cNvSpPr>
            <p:nvPr/>
          </p:nvSpPr>
          <p:spPr bwMode="auto">
            <a:xfrm>
              <a:off x="859456" y="4840678"/>
              <a:ext cx="372220" cy="478972"/>
            </a:xfrm>
            <a:custGeom>
              <a:avLst/>
              <a:gdLst>
                <a:gd name="T0" fmla="*/ 597 w 614"/>
                <a:gd name="T1" fmla="*/ 457 h 790"/>
                <a:gd name="T2" fmla="*/ 579 w 614"/>
                <a:gd name="T3" fmla="*/ 474 h 790"/>
                <a:gd name="T4" fmla="*/ 544 w 614"/>
                <a:gd name="T5" fmla="*/ 474 h 790"/>
                <a:gd name="T6" fmla="*/ 527 w 614"/>
                <a:gd name="T7" fmla="*/ 457 h 790"/>
                <a:gd name="T8" fmla="*/ 491 w 614"/>
                <a:gd name="T9" fmla="*/ 545 h 790"/>
                <a:gd name="T10" fmla="*/ 509 w 614"/>
                <a:gd name="T11" fmla="*/ 562 h 790"/>
                <a:gd name="T12" fmla="*/ 509 w 614"/>
                <a:gd name="T13" fmla="*/ 667 h 790"/>
                <a:gd name="T14" fmla="*/ 474 w 614"/>
                <a:gd name="T15" fmla="*/ 685 h 790"/>
                <a:gd name="T16" fmla="*/ 456 w 614"/>
                <a:gd name="T17" fmla="*/ 720 h 790"/>
                <a:gd name="T18" fmla="*/ 456 w 614"/>
                <a:gd name="T19" fmla="*/ 738 h 790"/>
                <a:gd name="T20" fmla="*/ 439 w 614"/>
                <a:gd name="T21" fmla="*/ 773 h 790"/>
                <a:gd name="T22" fmla="*/ 404 w 614"/>
                <a:gd name="T23" fmla="*/ 773 h 790"/>
                <a:gd name="T24" fmla="*/ 368 w 614"/>
                <a:gd name="T25" fmla="*/ 755 h 790"/>
                <a:gd name="T26" fmla="*/ 316 w 614"/>
                <a:gd name="T27" fmla="*/ 720 h 790"/>
                <a:gd name="T28" fmla="*/ 263 w 614"/>
                <a:gd name="T29" fmla="*/ 738 h 790"/>
                <a:gd name="T30" fmla="*/ 228 w 614"/>
                <a:gd name="T31" fmla="*/ 790 h 790"/>
                <a:gd name="T32" fmla="*/ 193 w 614"/>
                <a:gd name="T33" fmla="*/ 773 h 790"/>
                <a:gd name="T34" fmla="*/ 175 w 614"/>
                <a:gd name="T35" fmla="*/ 738 h 790"/>
                <a:gd name="T36" fmla="*/ 140 w 614"/>
                <a:gd name="T37" fmla="*/ 738 h 790"/>
                <a:gd name="T38" fmla="*/ 105 w 614"/>
                <a:gd name="T39" fmla="*/ 667 h 790"/>
                <a:gd name="T40" fmla="*/ 105 w 614"/>
                <a:gd name="T41" fmla="*/ 562 h 790"/>
                <a:gd name="T42" fmla="*/ 87 w 614"/>
                <a:gd name="T43" fmla="*/ 474 h 790"/>
                <a:gd name="T44" fmla="*/ 52 w 614"/>
                <a:gd name="T45" fmla="*/ 422 h 790"/>
                <a:gd name="T46" fmla="*/ 52 w 614"/>
                <a:gd name="T47" fmla="*/ 404 h 790"/>
                <a:gd name="T48" fmla="*/ 52 w 614"/>
                <a:gd name="T49" fmla="*/ 334 h 790"/>
                <a:gd name="T50" fmla="*/ 17 w 614"/>
                <a:gd name="T51" fmla="*/ 246 h 790"/>
                <a:gd name="T52" fmla="*/ 17 w 614"/>
                <a:gd name="T53" fmla="*/ 176 h 790"/>
                <a:gd name="T54" fmla="*/ 0 w 614"/>
                <a:gd name="T55" fmla="*/ 123 h 790"/>
                <a:gd name="T56" fmla="*/ 35 w 614"/>
                <a:gd name="T57" fmla="*/ 88 h 790"/>
                <a:gd name="T58" fmla="*/ 105 w 614"/>
                <a:gd name="T59" fmla="*/ 176 h 790"/>
                <a:gd name="T60" fmla="*/ 123 w 614"/>
                <a:gd name="T61" fmla="*/ 193 h 790"/>
                <a:gd name="T62" fmla="*/ 158 w 614"/>
                <a:gd name="T63" fmla="*/ 176 h 790"/>
                <a:gd name="T64" fmla="*/ 175 w 614"/>
                <a:gd name="T65" fmla="*/ 141 h 790"/>
                <a:gd name="T66" fmla="*/ 210 w 614"/>
                <a:gd name="T67" fmla="*/ 123 h 790"/>
                <a:gd name="T68" fmla="*/ 333 w 614"/>
                <a:gd name="T69" fmla="*/ 158 h 790"/>
                <a:gd name="T70" fmla="*/ 333 w 614"/>
                <a:gd name="T71" fmla="*/ 141 h 790"/>
                <a:gd name="T72" fmla="*/ 298 w 614"/>
                <a:gd name="T73" fmla="*/ 53 h 790"/>
                <a:gd name="T74" fmla="*/ 298 w 614"/>
                <a:gd name="T75" fmla="*/ 35 h 790"/>
                <a:gd name="T76" fmla="*/ 316 w 614"/>
                <a:gd name="T77" fmla="*/ 0 h 790"/>
                <a:gd name="T78" fmla="*/ 351 w 614"/>
                <a:gd name="T79" fmla="*/ 18 h 790"/>
                <a:gd name="T80" fmla="*/ 439 w 614"/>
                <a:gd name="T81" fmla="*/ 70 h 790"/>
                <a:gd name="T82" fmla="*/ 456 w 614"/>
                <a:gd name="T83" fmla="*/ 70 h 790"/>
                <a:gd name="T84" fmla="*/ 456 w 614"/>
                <a:gd name="T85" fmla="*/ 141 h 790"/>
                <a:gd name="T86" fmla="*/ 544 w 614"/>
                <a:gd name="T87" fmla="*/ 158 h 790"/>
                <a:gd name="T88" fmla="*/ 597 w 614"/>
                <a:gd name="T89" fmla="*/ 211 h 790"/>
                <a:gd name="T90" fmla="*/ 579 w 614"/>
                <a:gd name="T91" fmla="*/ 246 h 790"/>
                <a:gd name="T92" fmla="*/ 562 w 614"/>
                <a:gd name="T93" fmla="*/ 299 h 790"/>
                <a:gd name="T94" fmla="*/ 562 w 614"/>
                <a:gd name="T95" fmla="*/ 316 h 790"/>
                <a:gd name="T96" fmla="*/ 597 w 614"/>
                <a:gd name="T97" fmla="*/ 351 h 790"/>
                <a:gd name="T98" fmla="*/ 614 w 614"/>
                <a:gd name="T99" fmla="*/ 386 h 790"/>
                <a:gd name="T100" fmla="*/ 597 w 614"/>
                <a:gd name="T101" fmla="*/ 457 h 790"/>
                <a:gd name="T102" fmla="*/ 597 w 614"/>
                <a:gd name="T103" fmla="*/ 457 h 79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14"/>
                <a:gd name="T157" fmla="*/ 0 h 790"/>
                <a:gd name="T158" fmla="*/ 614 w 614"/>
                <a:gd name="T159" fmla="*/ 790 h 79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14" h="790">
                  <a:moveTo>
                    <a:pt x="597" y="457"/>
                  </a:moveTo>
                  <a:lnTo>
                    <a:pt x="597" y="457"/>
                  </a:lnTo>
                  <a:lnTo>
                    <a:pt x="597" y="474"/>
                  </a:lnTo>
                  <a:lnTo>
                    <a:pt x="579" y="474"/>
                  </a:lnTo>
                  <a:lnTo>
                    <a:pt x="544" y="474"/>
                  </a:lnTo>
                  <a:lnTo>
                    <a:pt x="527" y="457"/>
                  </a:lnTo>
                  <a:lnTo>
                    <a:pt x="491" y="545"/>
                  </a:lnTo>
                  <a:lnTo>
                    <a:pt x="509" y="562"/>
                  </a:lnTo>
                  <a:lnTo>
                    <a:pt x="509" y="667"/>
                  </a:lnTo>
                  <a:lnTo>
                    <a:pt x="474" y="685"/>
                  </a:lnTo>
                  <a:lnTo>
                    <a:pt x="456" y="720"/>
                  </a:lnTo>
                  <a:lnTo>
                    <a:pt x="456" y="738"/>
                  </a:lnTo>
                  <a:lnTo>
                    <a:pt x="439" y="773"/>
                  </a:lnTo>
                  <a:lnTo>
                    <a:pt x="404" y="773"/>
                  </a:lnTo>
                  <a:lnTo>
                    <a:pt x="368" y="773"/>
                  </a:lnTo>
                  <a:lnTo>
                    <a:pt x="368" y="755"/>
                  </a:lnTo>
                  <a:lnTo>
                    <a:pt x="351" y="738"/>
                  </a:lnTo>
                  <a:lnTo>
                    <a:pt x="316" y="720"/>
                  </a:lnTo>
                  <a:lnTo>
                    <a:pt x="263" y="738"/>
                  </a:lnTo>
                  <a:lnTo>
                    <a:pt x="228" y="773"/>
                  </a:lnTo>
                  <a:lnTo>
                    <a:pt x="228" y="790"/>
                  </a:lnTo>
                  <a:lnTo>
                    <a:pt x="193" y="773"/>
                  </a:lnTo>
                  <a:lnTo>
                    <a:pt x="175" y="738"/>
                  </a:lnTo>
                  <a:lnTo>
                    <a:pt x="158" y="720"/>
                  </a:lnTo>
                  <a:lnTo>
                    <a:pt x="140" y="738"/>
                  </a:lnTo>
                  <a:lnTo>
                    <a:pt x="105" y="667"/>
                  </a:lnTo>
                  <a:lnTo>
                    <a:pt x="105" y="562"/>
                  </a:lnTo>
                  <a:lnTo>
                    <a:pt x="87" y="474"/>
                  </a:lnTo>
                  <a:lnTo>
                    <a:pt x="52" y="439"/>
                  </a:lnTo>
                  <a:lnTo>
                    <a:pt x="52" y="422"/>
                  </a:lnTo>
                  <a:lnTo>
                    <a:pt x="52" y="404"/>
                  </a:lnTo>
                  <a:lnTo>
                    <a:pt x="70" y="369"/>
                  </a:lnTo>
                  <a:lnTo>
                    <a:pt x="52" y="334"/>
                  </a:lnTo>
                  <a:lnTo>
                    <a:pt x="35" y="281"/>
                  </a:lnTo>
                  <a:lnTo>
                    <a:pt x="17" y="246"/>
                  </a:lnTo>
                  <a:lnTo>
                    <a:pt x="17" y="176"/>
                  </a:lnTo>
                  <a:lnTo>
                    <a:pt x="0" y="141"/>
                  </a:lnTo>
                  <a:lnTo>
                    <a:pt x="0" y="123"/>
                  </a:lnTo>
                  <a:lnTo>
                    <a:pt x="35" y="88"/>
                  </a:lnTo>
                  <a:lnTo>
                    <a:pt x="105" y="176"/>
                  </a:lnTo>
                  <a:lnTo>
                    <a:pt x="123" y="193"/>
                  </a:lnTo>
                  <a:lnTo>
                    <a:pt x="140" y="193"/>
                  </a:lnTo>
                  <a:lnTo>
                    <a:pt x="158" y="176"/>
                  </a:lnTo>
                  <a:lnTo>
                    <a:pt x="175" y="141"/>
                  </a:lnTo>
                  <a:lnTo>
                    <a:pt x="193" y="123"/>
                  </a:lnTo>
                  <a:lnTo>
                    <a:pt x="210" y="123"/>
                  </a:lnTo>
                  <a:lnTo>
                    <a:pt x="263" y="141"/>
                  </a:lnTo>
                  <a:lnTo>
                    <a:pt x="333" y="158"/>
                  </a:lnTo>
                  <a:lnTo>
                    <a:pt x="333" y="141"/>
                  </a:lnTo>
                  <a:lnTo>
                    <a:pt x="333" y="105"/>
                  </a:lnTo>
                  <a:lnTo>
                    <a:pt x="298" y="53"/>
                  </a:lnTo>
                  <a:lnTo>
                    <a:pt x="298" y="35"/>
                  </a:lnTo>
                  <a:lnTo>
                    <a:pt x="316" y="18"/>
                  </a:lnTo>
                  <a:lnTo>
                    <a:pt x="316" y="0"/>
                  </a:lnTo>
                  <a:lnTo>
                    <a:pt x="351" y="18"/>
                  </a:lnTo>
                  <a:lnTo>
                    <a:pt x="386" y="53"/>
                  </a:lnTo>
                  <a:lnTo>
                    <a:pt x="439" y="70"/>
                  </a:lnTo>
                  <a:lnTo>
                    <a:pt x="456" y="70"/>
                  </a:lnTo>
                  <a:lnTo>
                    <a:pt x="456" y="141"/>
                  </a:lnTo>
                  <a:lnTo>
                    <a:pt x="544" y="158"/>
                  </a:lnTo>
                  <a:lnTo>
                    <a:pt x="579" y="176"/>
                  </a:lnTo>
                  <a:lnTo>
                    <a:pt x="597" y="211"/>
                  </a:lnTo>
                  <a:lnTo>
                    <a:pt x="579" y="246"/>
                  </a:lnTo>
                  <a:lnTo>
                    <a:pt x="562" y="264"/>
                  </a:lnTo>
                  <a:lnTo>
                    <a:pt x="562" y="299"/>
                  </a:lnTo>
                  <a:lnTo>
                    <a:pt x="562" y="316"/>
                  </a:lnTo>
                  <a:lnTo>
                    <a:pt x="579" y="334"/>
                  </a:lnTo>
                  <a:lnTo>
                    <a:pt x="597" y="351"/>
                  </a:lnTo>
                  <a:lnTo>
                    <a:pt x="614" y="386"/>
                  </a:lnTo>
                  <a:lnTo>
                    <a:pt x="597" y="457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5"/>
            <p:cNvSpPr>
              <a:spLocks/>
            </p:cNvSpPr>
            <p:nvPr/>
          </p:nvSpPr>
          <p:spPr bwMode="auto">
            <a:xfrm>
              <a:off x="1135893" y="5117755"/>
              <a:ext cx="330390" cy="436532"/>
            </a:xfrm>
            <a:custGeom>
              <a:avLst/>
              <a:gdLst>
                <a:gd name="T0" fmla="*/ 229 w 545"/>
                <a:gd name="T1" fmla="*/ 632 h 720"/>
                <a:gd name="T2" fmla="*/ 246 w 545"/>
                <a:gd name="T3" fmla="*/ 614 h 720"/>
                <a:gd name="T4" fmla="*/ 194 w 545"/>
                <a:gd name="T5" fmla="*/ 562 h 720"/>
                <a:gd name="T6" fmla="*/ 123 w 545"/>
                <a:gd name="T7" fmla="*/ 544 h 720"/>
                <a:gd name="T8" fmla="*/ 53 w 545"/>
                <a:gd name="T9" fmla="*/ 492 h 720"/>
                <a:gd name="T10" fmla="*/ 35 w 545"/>
                <a:gd name="T11" fmla="*/ 439 h 720"/>
                <a:gd name="T12" fmla="*/ 35 w 545"/>
                <a:gd name="T13" fmla="*/ 404 h 720"/>
                <a:gd name="T14" fmla="*/ 53 w 545"/>
                <a:gd name="T15" fmla="*/ 386 h 720"/>
                <a:gd name="T16" fmla="*/ 71 w 545"/>
                <a:gd name="T17" fmla="*/ 369 h 720"/>
                <a:gd name="T18" fmla="*/ 53 w 545"/>
                <a:gd name="T19" fmla="*/ 333 h 720"/>
                <a:gd name="T20" fmla="*/ 18 w 545"/>
                <a:gd name="T21" fmla="*/ 298 h 720"/>
                <a:gd name="T22" fmla="*/ 0 w 545"/>
                <a:gd name="T23" fmla="*/ 263 h 720"/>
                <a:gd name="T24" fmla="*/ 53 w 545"/>
                <a:gd name="T25" fmla="*/ 210 h 720"/>
                <a:gd name="T26" fmla="*/ 53 w 545"/>
                <a:gd name="T27" fmla="*/ 105 h 720"/>
                <a:gd name="T28" fmla="*/ 53 w 545"/>
                <a:gd name="T29" fmla="*/ 105 h 720"/>
                <a:gd name="T30" fmla="*/ 35 w 545"/>
                <a:gd name="T31" fmla="*/ 88 h 720"/>
                <a:gd name="T32" fmla="*/ 71 w 545"/>
                <a:gd name="T33" fmla="*/ 0 h 720"/>
                <a:gd name="T34" fmla="*/ 123 w 545"/>
                <a:gd name="T35" fmla="*/ 17 h 720"/>
                <a:gd name="T36" fmla="*/ 141 w 545"/>
                <a:gd name="T37" fmla="*/ 17 h 720"/>
                <a:gd name="T38" fmla="*/ 141 w 545"/>
                <a:gd name="T39" fmla="*/ 0 h 720"/>
                <a:gd name="T40" fmla="*/ 158 w 545"/>
                <a:gd name="T41" fmla="*/ 0 h 720"/>
                <a:gd name="T42" fmla="*/ 211 w 545"/>
                <a:gd name="T43" fmla="*/ 17 h 720"/>
                <a:gd name="T44" fmla="*/ 229 w 545"/>
                <a:gd name="T45" fmla="*/ 52 h 720"/>
                <a:gd name="T46" fmla="*/ 246 w 545"/>
                <a:gd name="T47" fmla="*/ 70 h 720"/>
                <a:gd name="T48" fmla="*/ 281 w 545"/>
                <a:gd name="T49" fmla="*/ 52 h 720"/>
                <a:gd name="T50" fmla="*/ 299 w 545"/>
                <a:gd name="T51" fmla="*/ 88 h 720"/>
                <a:gd name="T52" fmla="*/ 352 w 545"/>
                <a:gd name="T53" fmla="*/ 105 h 720"/>
                <a:gd name="T54" fmla="*/ 369 w 545"/>
                <a:gd name="T55" fmla="*/ 123 h 720"/>
                <a:gd name="T56" fmla="*/ 369 w 545"/>
                <a:gd name="T57" fmla="*/ 140 h 720"/>
                <a:gd name="T58" fmla="*/ 422 w 545"/>
                <a:gd name="T59" fmla="*/ 193 h 720"/>
                <a:gd name="T60" fmla="*/ 457 w 545"/>
                <a:gd name="T61" fmla="*/ 246 h 720"/>
                <a:gd name="T62" fmla="*/ 457 w 545"/>
                <a:gd name="T63" fmla="*/ 281 h 720"/>
                <a:gd name="T64" fmla="*/ 440 w 545"/>
                <a:gd name="T65" fmla="*/ 298 h 720"/>
                <a:gd name="T66" fmla="*/ 492 w 545"/>
                <a:gd name="T67" fmla="*/ 421 h 720"/>
                <a:gd name="T68" fmla="*/ 545 w 545"/>
                <a:gd name="T69" fmla="*/ 527 h 720"/>
                <a:gd name="T70" fmla="*/ 545 w 545"/>
                <a:gd name="T71" fmla="*/ 562 h 720"/>
                <a:gd name="T72" fmla="*/ 492 w 545"/>
                <a:gd name="T73" fmla="*/ 579 h 720"/>
                <a:gd name="T74" fmla="*/ 404 w 545"/>
                <a:gd name="T75" fmla="*/ 579 h 720"/>
                <a:gd name="T76" fmla="*/ 440 w 545"/>
                <a:gd name="T77" fmla="*/ 632 h 720"/>
                <a:gd name="T78" fmla="*/ 404 w 545"/>
                <a:gd name="T79" fmla="*/ 632 h 720"/>
                <a:gd name="T80" fmla="*/ 404 w 545"/>
                <a:gd name="T81" fmla="*/ 650 h 720"/>
                <a:gd name="T82" fmla="*/ 404 w 545"/>
                <a:gd name="T83" fmla="*/ 720 h 720"/>
                <a:gd name="T84" fmla="*/ 387 w 545"/>
                <a:gd name="T85" fmla="*/ 702 h 720"/>
                <a:gd name="T86" fmla="*/ 387 w 545"/>
                <a:gd name="T87" fmla="*/ 702 h 720"/>
                <a:gd name="T88" fmla="*/ 369 w 545"/>
                <a:gd name="T89" fmla="*/ 702 h 720"/>
                <a:gd name="T90" fmla="*/ 334 w 545"/>
                <a:gd name="T91" fmla="*/ 685 h 720"/>
                <a:gd name="T92" fmla="*/ 281 w 545"/>
                <a:gd name="T93" fmla="*/ 702 h 720"/>
                <a:gd name="T94" fmla="*/ 264 w 545"/>
                <a:gd name="T95" fmla="*/ 650 h 720"/>
                <a:gd name="T96" fmla="*/ 229 w 545"/>
                <a:gd name="T97" fmla="*/ 650 h 720"/>
                <a:gd name="T98" fmla="*/ 229 w 545"/>
                <a:gd name="T99" fmla="*/ 632 h 72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45"/>
                <a:gd name="T151" fmla="*/ 0 h 720"/>
                <a:gd name="T152" fmla="*/ 545 w 545"/>
                <a:gd name="T153" fmla="*/ 720 h 72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45" h="720">
                  <a:moveTo>
                    <a:pt x="229" y="632"/>
                  </a:moveTo>
                  <a:lnTo>
                    <a:pt x="229" y="632"/>
                  </a:lnTo>
                  <a:lnTo>
                    <a:pt x="246" y="614"/>
                  </a:lnTo>
                  <a:lnTo>
                    <a:pt x="194" y="562"/>
                  </a:lnTo>
                  <a:lnTo>
                    <a:pt x="158" y="562"/>
                  </a:lnTo>
                  <a:lnTo>
                    <a:pt x="123" y="544"/>
                  </a:lnTo>
                  <a:lnTo>
                    <a:pt x="88" y="509"/>
                  </a:lnTo>
                  <a:lnTo>
                    <a:pt x="53" y="492"/>
                  </a:lnTo>
                  <a:lnTo>
                    <a:pt x="35" y="439"/>
                  </a:lnTo>
                  <a:lnTo>
                    <a:pt x="35" y="404"/>
                  </a:lnTo>
                  <a:lnTo>
                    <a:pt x="35" y="386"/>
                  </a:lnTo>
                  <a:lnTo>
                    <a:pt x="53" y="386"/>
                  </a:lnTo>
                  <a:lnTo>
                    <a:pt x="71" y="386"/>
                  </a:lnTo>
                  <a:lnTo>
                    <a:pt x="71" y="369"/>
                  </a:lnTo>
                  <a:lnTo>
                    <a:pt x="53" y="333"/>
                  </a:lnTo>
                  <a:lnTo>
                    <a:pt x="35" y="316"/>
                  </a:lnTo>
                  <a:lnTo>
                    <a:pt x="18" y="298"/>
                  </a:lnTo>
                  <a:lnTo>
                    <a:pt x="0" y="263"/>
                  </a:lnTo>
                  <a:lnTo>
                    <a:pt x="18" y="228"/>
                  </a:lnTo>
                  <a:lnTo>
                    <a:pt x="53" y="210"/>
                  </a:lnTo>
                  <a:lnTo>
                    <a:pt x="53" y="105"/>
                  </a:lnTo>
                  <a:lnTo>
                    <a:pt x="35" y="88"/>
                  </a:lnTo>
                  <a:lnTo>
                    <a:pt x="71" y="0"/>
                  </a:lnTo>
                  <a:lnTo>
                    <a:pt x="88" y="17"/>
                  </a:lnTo>
                  <a:lnTo>
                    <a:pt x="123" y="17"/>
                  </a:lnTo>
                  <a:lnTo>
                    <a:pt x="141" y="17"/>
                  </a:lnTo>
                  <a:lnTo>
                    <a:pt x="141" y="0"/>
                  </a:lnTo>
                  <a:lnTo>
                    <a:pt x="158" y="0"/>
                  </a:lnTo>
                  <a:lnTo>
                    <a:pt x="194" y="0"/>
                  </a:lnTo>
                  <a:lnTo>
                    <a:pt x="211" y="17"/>
                  </a:lnTo>
                  <a:lnTo>
                    <a:pt x="229" y="52"/>
                  </a:lnTo>
                  <a:lnTo>
                    <a:pt x="246" y="70"/>
                  </a:lnTo>
                  <a:lnTo>
                    <a:pt x="264" y="70"/>
                  </a:lnTo>
                  <a:lnTo>
                    <a:pt x="281" y="52"/>
                  </a:lnTo>
                  <a:lnTo>
                    <a:pt x="299" y="88"/>
                  </a:lnTo>
                  <a:lnTo>
                    <a:pt x="317" y="105"/>
                  </a:lnTo>
                  <a:lnTo>
                    <a:pt x="352" y="105"/>
                  </a:lnTo>
                  <a:lnTo>
                    <a:pt x="369" y="123"/>
                  </a:lnTo>
                  <a:lnTo>
                    <a:pt x="369" y="140"/>
                  </a:lnTo>
                  <a:lnTo>
                    <a:pt x="404" y="175"/>
                  </a:lnTo>
                  <a:lnTo>
                    <a:pt x="422" y="193"/>
                  </a:lnTo>
                  <a:lnTo>
                    <a:pt x="440" y="210"/>
                  </a:lnTo>
                  <a:lnTo>
                    <a:pt x="457" y="246"/>
                  </a:lnTo>
                  <a:lnTo>
                    <a:pt x="457" y="281"/>
                  </a:lnTo>
                  <a:lnTo>
                    <a:pt x="440" y="298"/>
                  </a:lnTo>
                  <a:lnTo>
                    <a:pt x="457" y="369"/>
                  </a:lnTo>
                  <a:lnTo>
                    <a:pt x="492" y="421"/>
                  </a:lnTo>
                  <a:lnTo>
                    <a:pt x="527" y="474"/>
                  </a:lnTo>
                  <a:lnTo>
                    <a:pt x="545" y="527"/>
                  </a:lnTo>
                  <a:lnTo>
                    <a:pt x="545" y="562"/>
                  </a:lnTo>
                  <a:lnTo>
                    <a:pt x="492" y="579"/>
                  </a:lnTo>
                  <a:lnTo>
                    <a:pt x="404" y="579"/>
                  </a:lnTo>
                  <a:lnTo>
                    <a:pt x="440" y="632"/>
                  </a:lnTo>
                  <a:lnTo>
                    <a:pt x="404" y="632"/>
                  </a:lnTo>
                  <a:lnTo>
                    <a:pt x="404" y="650"/>
                  </a:lnTo>
                  <a:lnTo>
                    <a:pt x="387" y="685"/>
                  </a:lnTo>
                  <a:lnTo>
                    <a:pt x="404" y="720"/>
                  </a:lnTo>
                  <a:lnTo>
                    <a:pt x="387" y="702"/>
                  </a:lnTo>
                  <a:lnTo>
                    <a:pt x="369" y="702"/>
                  </a:lnTo>
                  <a:lnTo>
                    <a:pt x="352" y="702"/>
                  </a:lnTo>
                  <a:lnTo>
                    <a:pt x="334" y="685"/>
                  </a:lnTo>
                  <a:lnTo>
                    <a:pt x="281" y="702"/>
                  </a:lnTo>
                  <a:lnTo>
                    <a:pt x="264" y="650"/>
                  </a:lnTo>
                  <a:lnTo>
                    <a:pt x="229" y="650"/>
                  </a:lnTo>
                  <a:lnTo>
                    <a:pt x="229" y="632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6"/>
            <p:cNvSpPr>
              <a:spLocks/>
            </p:cNvSpPr>
            <p:nvPr/>
          </p:nvSpPr>
          <p:spPr bwMode="auto">
            <a:xfrm>
              <a:off x="4224588" y="5468799"/>
              <a:ext cx="671086" cy="500799"/>
            </a:xfrm>
            <a:custGeom>
              <a:avLst/>
              <a:gdLst>
                <a:gd name="T0" fmla="*/ 720 w 1107"/>
                <a:gd name="T1" fmla="*/ 826 h 826"/>
                <a:gd name="T2" fmla="*/ 720 w 1107"/>
                <a:gd name="T3" fmla="*/ 826 h 826"/>
                <a:gd name="T4" fmla="*/ 773 w 1107"/>
                <a:gd name="T5" fmla="*/ 791 h 826"/>
                <a:gd name="T6" fmla="*/ 773 w 1107"/>
                <a:gd name="T7" fmla="*/ 756 h 826"/>
                <a:gd name="T8" fmla="*/ 755 w 1107"/>
                <a:gd name="T9" fmla="*/ 738 h 826"/>
                <a:gd name="T10" fmla="*/ 720 w 1107"/>
                <a:gd name="T11" fmla="*/ 703 h 826"/>
                <a:gd name="T12" fmla="*/ 738 w 1107"/>
                <a:gd name="T13" fmla="*/ 668 h 826"/>
                <a:gd name="T14" fmla="*/ 896 w 1107"/>
                <a:gd name="T15" fmla="*/ 598 h 826"/>
                <a:gd name="T16" fmla="*/ 914 w 1107"/>
                <a:gd name="T17" fmla="*/ 580 h 826"/>
                <a:gd name="T18" fmla="*/ 949 w 1107"/>
                <a:gd name="T19" fmla="*/ 580 h 826"/>
                <a:gd name="T20" fmla="*/ 1072 w 1107"/>
                <a:gd name="T21" fmla="*/ 545 h 826"/>
                <a:gd name="T22" fmla="*/ 1072 w 1107"/>
                <a:gd name="T23" fmla="*/ 527 h 826"/>
                <a:gd name="T24" fmla="*/ 1054 w 1107"/>
                <a:gd name="T25" fmla="*/ 457 h 826"/>
                <a:gd name="T26" fmla="*/ 1054 w 1107"/>
                <a:gd name="T27" fmla="*/ 439 h 826"/>
                <a:gd name="T28" fmla="*/ 1107 w 1107"/>
                <a:gd name="T29" fmla="*/ 404 h 826"/>
                <a:gd name="T30" fmla="*/ 1107 w 1107"/>
                <a:gd name="T31" fmla="*/ 369 h 826"/>
                <a:gd name="T32" fmla="*/ 1107 w 1107"/>
                <a:gd name="T33" fmla="*/ 369 h 826"/>
                <a:gd name="T34" fmla="*/ 1107 w 1107"/>
                <a:gd name="T35" fmla="*/ 334 h 826"/>
                <a:gd name="T36" fmla="*/ 1072 w 1107"/>
                <a:gd name="T37" fmla="*/ 281 h 826"/>
                <a:gd name="T38" fmla="*/ 1089 w 1107"/>
                <a:gd name="T39" fmla="*/ 264 h 826"/>
                <a:gd name="T40" fmla="*/ 1107 w 1107"/>
                <a:gd name="T41" fmla="*/ 229 h 826"/>
                <a:gd name="T42" fmla="*/ 1037 w 1107"/>
                <a:gd name="T43" fmla="*/ 176 h 826"/>
                <a:gd name="T44" fmla="*/ 1001 w 1107"/>
                <a:gd name="T45" fmla="*/ 106 h 826"/>
                <a:gd name="T46" fmla="*/ 931 w 1107"/>
                <a:gd name="T47" fmla="*/ 53 h 826"/>
                <a:gd name="T48" fmla="*/ 878 w 1107"/>
                <a:gd name="T49" fmla="*/ 0 h 826"/>
                <a:gd name="T50" fmla="*/ 861 w 1107"/>
                <a:gd name="T51" fmla="*/ 18 h 826"/>
                <a:gd name="T52" fmla="*/ 843 w 1107"/>
                <a:gd name="T53" fmla="*/ 53 h 826"/>
                <a:gd name="T54" fmla="*/ 826 w 1107"/>
                <a:gd name="T55" fmla="*/ 71 h 826"/>
                <a:gd name="T56" fmla="*/ 720 w 1107"/>
                <a:gd name="T57" fmla="*/ 71 h 826"/>
                <a:gd name="T58" fmla="*/ 703 w 1107"/>
                <a:gd name="T59" fmla="*/ 88 h 826"/>
                <a:gd name="T60" fmla="*/ 650 w 1107"/>
                <a:gd name="T61" fmla="*/ 88 h 826"/>
                <a:gd name="T62" fmla="*/ 615 w 1107"/>
                <a:gd name="T63" fmla="*/ 141 h 826"/>
                <a:gd name="T64" fmla="*/ 562 w 1107"/>
                <a:gd name="T65" fmla="*/ 194 h 826"/>
                <a:gd name="T66" fmla="*/ 527 w 1107"/>
                <a:gd name="T67" fmla="*/ 158 h 826"/>
                <a:gd name="T68" fmla="*/ 492 w 1107"/>
                <a:gd name="T69" fmla="*/ 106 h 826"/>
                <a:gd name="T70" fmla="*/ 492 w 1107"/>
                <a:gd name="T71" fmla="*/ 71 h 826"/>
                <a:gd name="T72" fmla="*/ 457 w 1107"/>
                <a:gd name="T73" fmla="*/ 35 h 826"/>
                <a:gd name="T74" fmla="*/ 404 w 1107"/>
                <a:gd name="T75" fmla="*/ 0 h 826"/>
                <a:gd name="T76" fmla="*/ 351 w 1107"/>
                <a:gd name="T77" fmla="*/ 18 h 826"/>
                <a:gd name="T78" fmla="*/ 264 w 1107"/>
                <a:gd name="T79" fmla="*/ 71 h 826"/>
                <a:gd name="T80" fmla="*/ 228 w 1107"/>
                <a:gd name="T81" fmla="*/ 88 h 826"/>
                <a:gd name="T82" fmla="*/ 123 w 1107"/>
                <a:gd name="T83" fmla="*/ 106 h 826"/>
                <a:gd name="T84" fmla="*/ 88 w 1107"/>
                <a:gd name="T85" fmla="*/ 123 h 826"/>
                <a:gd name="T86" fmla="*/ 53 w 1107"/>
                <a:gd name="T87" fmla="*/ 88 h 826"/>
                <a:gd name="T88" fmla="*/ 18 w 1107"/>
                <a:gd name="T89" fmla="*/ 106 h 826"/>
                <a:gd name="T90" fmla="*/ 0 w 1107"/>
                <a:gd name="T91" fmla="*/ 123 h 826"/>
                <a:gd name="T92" fmla="*/ 176 w 1107"/>
                <a:gd name="T93" fmla="*/ 668 h 826"/>
                <a:gd name="T94" fmla="*/ 176 w 1107"/>
                <a:gd name="T95" fmla="*/ 685 h 826"/>
                <a:gd name="T96" fmla="*/ 193 w 1107"/>
                <a:gd name="T97" fmla="*/ 703 h 826"/>
                <a:gd name="T98" fmla="*/ 246 w 1107"/>
                <a:gd name="T99" fmla="*/ 650 h 826"/>
                <a:gd name="T100" fmla="*/ 281 w 1107"/>
                <a:gd name="T101" fmla="*/ 615 h 826"/>
                <a:gd name="T102" fmla="*/ 316 w 1107"/>
                <a:gd name="T103" fmla="*/ 633 h 826"/>
                <a:gd name="T104" fmla="*/ 334 w 1107"/>
                <a:gd name="T105" fmla="*/ 650 h 826"/>
                <a:gd name="T106" fmla="*/ 351 w 1107"/>
                <a:gd name="T107" fmla="*/ 685 h 826"/>
                <a:gd name="T108" fmla="*/ 369 w 1107"/>
                <a:gd name="T109" fmla="*/ 756 h 826"/>
                <a:gd name="T110" fmla="*/ 439 w 1107"/>
                <a:gd name="T111" fmla="*/ 756 h 826"/>
                <a:gd name="T112" fmla="*/ 527 w 1107"/>
                <a:gd name="T113" fmla="*/ 738 h 826"/>
                <a:gd name="T114" fmla="*/ 597 w 1107"/>
                <a:gd name="T115" fmla="*/ 720 h 826"/>
                <a:gd name="T116" fmla="*/ 668 w 1107"/>
                <a:gd name="T117" fmla="*/ 756 h 826"/>
                <a:gd name="T118" fmla="*/ 720 w 1107"/>
                <a:gd name="T119" fmla="*/ 808 h 826"/>
                <a:gd name="T120" fmla="*/ 738 w 1107"/>
                <a:gd name="T121" fmla="*/ 808 h 8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107"/>
                <a:gd name="T184" fmla="*/ 0 h 826"/>
                <a:gd name="T185" fmla="*/ 1107 w 1107"/>
                <a:gd name="T186" fmla="*/ 826 h 8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107" h="826">
                  <a:moveTo>
                    <a:pt x="738" y="808"/>
                  </a:moveTo>
                  <a:lnTo>
                    <a:pt x="720" y="826"/>
                  </a:lnTo>
                  <a:lnTo>
                    <a:pt x="755" y="791"/>
                  </a:lnTo>
                  <a:lnTo>
                    <a:pt x="773" y="791"/>
                  </a:lnTo>
                  <a:lnTo>
                    <a:pt x="773" y="756"/>
                  </a:lnTo>
                  <a:lnTo>
                    <a:pt x="773" y="738"/>
                  </a:lnTo>
                  <a:lnTo>
                    <a:pt x="755" y="738"/>
                  </a:lnTo>
                  <a:lnTo>
                    <a:pt x="720" y="720"/>
                  </a:lnTo>
                  <a:lnTo>
                    <a:pt x="720" y="703"/>
                  </a:lnTo>
                  <a:lnTo>
                    <a:pt x="738" y="668"/>
                  </a:lnTo>
                  <a:lnTo>
                    <a:pt x="808" y="650"/>
                  </a:lnTo>
                  <a:lnTo>
                    <a:pt x="896" y="598"/>
                  </a:lnTo>
                  <a:lnTo>
                    <a:pt x="914" y="580"/>
                  </a:lnTo>
                  <a:lnTo>
                    <a:pt x="949" y="580"/>
                  </a:lnTo>
                  <a:lnTo>
                    <a:pt x="1019" y="562"/>
                  </a:lnTo>
                  <a:lnTo>
                    <a:pt x="1072" y="545"/>
                  </a:lnTo>
                  <a:lnTo>
                    <a:pt x="1072" y="527"/>
                  </a:lnTo>
                  <a:lnTo>
                    <a:pt x="1072" y="492"/>
                  </a:lnTo>
                  <a:lnTo>
                    <a:pt x="1054" y="457"/>
                  </a:lnTo>
                  <a:lnTo>
                    <a:pt x="1054" y="439"/>
                  </a:lnTo>
                  <a:lnTo>
                    <a:pt x="1072" y="422"/>
                  </a:lnTo>
                  <a:lnTo>
                    <a:pt x="1107" y="404"/>
                  </a:lnTo>
                  <a:lnTo>
                    <a:pt x="1107" y="369"/>
                  </a:lnTo>
                  <a:lnTo>
                    <a:pt x="1107" y="334"/>
                  </a:lnTo>
                  <a:lnTo>
                    <a:pt x="1089" y="299"/>
                  </a:lnTo>
                  <a:lnTo>
                    <a:pt x="1072" y="281"/>
                  </a:lnTo>
                  <a:lnTo>
                    <a:pt x="1089" y="264"/>
                  </a:lnTo>
                  <a:lnTo>
                    <a:pt x="1107" y="229"/>
                  </a:lnTo>
                  <a:lnTo>
                    <a:pt x="1054" y="211"/>
                  </a:lnTo>
                  <a:lnTo>
                    <a:pt x="1037" y="176"/>
                  </a:lnTo>
                  <a:lnTo>
                    <a:pt x="1019" y="141"/>
                  </a:lnTo>
                  <a:lnTo>
                    <a:pt x="1001" y="106"/>
                  </a:lnTo>
                  <a:lnTo>
                    <a:pt x="931" y="53"/>
                  </a:lnTo>
                  <a:lnTo>
                    <a:pt x="896" y="35"/>
                  </a:lnTo>
                  <a:lnTo>
                    <a:pt x="878" y="0"/>
                  </a:lnTo>
                  <a:lnTo>
                    <a:pt x="861" y="18"/>
                  </a:lnTo>
                  <a:lnTo>
                    <a:pt x="861" y="35"/>
                  </a:lnTo>
                  <a:lnTo>
                    <a:pt x="843" y="53"/>
                  </a:lnTo>
                  <a:lnTo>
                    <a:pt x="826" y="71"/>
                  </a:lnTo>
                  <a:lnTo>
                    <a:pt x="773" y="53"/>
                  </a:lnTo>
                  <a:lnTo>
                    <a:pt x="720" y="71"/>
                  </a:lnTo>
                  <a:lnTo>
                    <a:pt x="703" y="88"/>
                  </a:lnTo>
                  <a:lnTo>
                    <a:pt x="650" y="88"/>
                  </a:lnTo>
                  <a:lnTo>
                    <a:pt x="615" y="141"/>
                  </a:lnTo>
                  <a:lnTo>
                    <a:pt x="597" y="176"/>
                  </a:lnTo>
                  <a:lnTo>
                    <a:pt x="562" y="194"/>
                  </a:lnTo>
                  <a:lnTo>
                    <a:pt x="527" y="158"/>
                  </a:lnTo>
                  <a:lnTo>
                    <a:pt x="492" y="106"/>
                  </a:lnTo>
                  <a:lnTo>
                    <a:pt x="492" y="71"/>
                  </a:lnTo>
                  <a:lnTo>
                    <a:pt x="457" y="53"/>
                  </a:lnTo>
                  <a:lnTo>
                    <a:pt x="457" y="35"/>
                  </a:lnTo>
                  <a:lnTo>
                    <a:pt x="439" y="18"/>
                  </a:lnTo>
                  <a:lnTo>
                    <a:pt x="404" y="0"/>
                  </a:lnTo>
                  <a:lnTo>
                    <a:pt x="351" y="18"/>
                  </a:lnTo>
                  <a:lnTo>
                    <a:pt x="316" y="35"/>
                  </a:lnTo>
                  <a:lnTo>
                    <a:pt x="264" y="71"/>
                  </a:lnTo>
                  <a:lnTo>
                    <a:pt x="228" y="88"/>
                  </a:lnTo>
                  <a:lnTo>
                    <a:pt x="158" y="88"/>
                  </a:lnTo>
                  <a:lnTo>
                    <a:pt x="123" y="106"/>
                  </a:lnTo>
                  <a:lnTo>
                    <a:pt x="88" y="123"/>
                  </a:lnTo>
                  <a:lnTo>
                    <a:pt x="70" y="106"/>
                  </a:lnTo>
                  <a:lnTo>
                    <a:pt x="53" y="88"/>
                  </a:lnTo>
                  <a:lnTo>
                    <a:pt x="18" y="106"/>
                  </a:lnTo>
                  <a:lnTo>
                    <a:pt x="0" y="123"/>
                  </a:lnTo>
                  <a:lnTo>
                    <a:pt x="176" y="668"/>
                  </a:lnTo>
                  <a:lnTo>
                    <a:pt x="176" y="685"/>
                  </a:lnTo>
                  <a:lnTo>
                    <a:pt x="193" y="703"/>
                  </a:lnTo>
                  <a:lnTo>
                    <a:pt x="228" y="685"/>
                  </a:lnTo>
                  <a:lnTo>
                    <a:pt x="246" y="650"/>
                  </a:lnTo>
                  <a:lnTo>
                    <a:pt x="264" y="633"/>
                  </a:lnTo>
                  <a:lnTo>
                    <a:pt x="281" y="615"/>
                  </a:lnTo>
                  <a:lnTo>
                    <a:pt x="316" y="633"/>
                  </a:lnTo>
                  <a:lnTo>
                    <a:pt x="334" y="650"/>
                  </a:lnTo>
                  <a:lnTo>
                    <a:pt x="351" y="668"/>
                  </a:lnTo>
                  <a:lnTo>
                    <a:pt x="351" y="685"/>
                  </a:lnTo>
                  <a:lnTo>
                    <a:pt x="369" y="720"/>
                  </a:lnTo>
                  <a:lnTo>
                    <a:pt x="369" y="756"/>
                  </a:lnTo>
                  <a:lnTo>
                    <a:pt x="439" y="756"/>
                  </a:lnTo>
                  <a:lnTo>
                    <a:pt x="527" y="738"/>
                  </a:lnTo>
                  <a:lnTo>
                    <a:pt x="597" y="720"/>
                  </a:lnTo>
                  <a:lnTo>
                    <a:pt x="650" y="720"/>
                  </a:lnTo>
                  <a:lnTo>
                    <a:pt x="668" y="756"/>
                  </a:lnTo>
                  <a:lnTo>
                    <a:pt x="720" y="808"/>
                  </a:lnTo>
                  <a:lnTo>
                    <a:pt x="738" y="808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7"/>
            <p:cNvSpPr>
              <a:spLocks/>
            </p:cNvSpPr>
            <p:nvPr/>
          </p:nvSpPr>
          <p:spPr bwMode="auto">
            <a:xfrm>
              <a:off x="8537849" y="4915253"/>
              <a:ext cx="394044" cy="1033125"/>
            </a:xfrm>
            <a:custGeom>
              <a:avLst/>
              <a:gdLst>
                <a:gd name="T0" fmla="*/ 123 w 650"/>
                <a:gd name="T1" fmla="*/ 650 h 1704"/>
                <a:gd name="T2" fmla="*/ 158 w 650"/>
                <a:gd name="T3" fmla="*/ 650 h 1704"/>
                <a:gd name="T4" fmla="*/ 176 w 650"/>
                <a:gd name="T5" fmla="*/ 632 h 1704"/>
                <a:gd name="T6" fmla="*/ 158 w 650"/>
                <a:gd name="T7" fmla="*/ 562 h 1704"/>
                <a:gd name="T8" fmla="*/ 176 w 650"/>
                <a:gd name="T9" fmla="*/ 509 h 1704"/>
                <a:gd name="T10" fmla="*/ 211 w 650"/>
                <a:gd name="T11" fmla="*/ 474 h 1704"/>
                <a:gd name="T12" fmla="*/ 281 w 650"/>
                <a:gd name="T13" fmla="*/ 474 h 1704"/>
                <a:gd name="T14" fmla="*/ 404 w 650"/>
                <a:gd name="T15" fmla="*/ 439 h 1704"/>
                <a:gd name="T16" fmla="*/ 422 w 650"/>
                <a:gd name="T17" fmla="*/ 369 h 1704"/>
                <a:gd name="T18" fmla="*/ 404 w 650"/>
                <a:gd name="T19" fmla="*/ 334 h 1704"/>
                <a:gd name="T20" fmla="*/ 387 w 650"/>
                <a:gd name="T21" fmla="*/ 299 h 1704"/>
                <a:gd name="T22" fmla="*/ 422 w 650"/>
                <a:gd name="T23" fmla="*/ 281 h 1704"/>
                <a:gd name="T24" fmla="*/ 457 w 650"/>
                <a:gd name="T25" fmla="*/ 246 h 1704"/>
                <a:gd name="T26" fmla="*/ 457 w 650"/>
                <a:gd name="T27" fmla="*/ 158 h 1704"/>
                <a:gd name="T28" fmla="*/ 439 w 650"/>
                <a:gd name="T29" fmla="*/ 158 h 1704"/>
                <a:gd name="T30" fmla="*/ 404 w 650"/>
                <a:gd name="T31" fmla="*/ 158 h 1704"/>
                <a:gd name="T32" fmla="*/ 316 w 650"/>
                <a:gd name="T33" fmla="*/ 123 h 1704"/>
                <a:gd name="T34" fmla="*/ 404 w 650"/>
                <a:gd name="T35" fmla="*/ 0 h 1704"/>
                <a:gd name="T36" fmla="*/ 457 w 650"/>
                <a:gd name="T37" fmla="*/ 18 h 1704"/>
                <a:gd name="T38" fmla="*/ 510 w 650"/>
                <a:gd name="T39" fmla="*/ 53 h 1704"/>
                <a:gd name="T40" fmla="*/ 510 w 650"/>
                <a:gd name="T41" fmla="*/ 123 h 1704"/>
                <a:gd name="T42" fmla="*/ 527 w 650"/>
                <a:gd name="T43" fmla="*/ 123 h 1704"/>
                <a:gd name="T44" fmla="*/ 580 w 650"/>
                <a:gd name="T45" fmla="*/ 105 h 1704"/>
                <a:gd name="T46" fmla="*/ 632 w 650"/>
                <a:gd name="T47" fmla="*/ 334 h 1704"/>
                <a:gd name="T48" fmla="*/ 650 w 650"/>
                <a:gd name="T49" fmla="*/ 808 h 1704"/>
                <a:gd name="T50" fmla="*/ 632 w 650"/>
                <a:gd name="T51" fmla="*/ 1142 h 1704"/>
                <a:gd name="T52" fmla="*/ 615 w 650"/>
                <a:gd name="T53" fmla="*/ 1229 h 1704"/>
                <a:gd name="T54" fmla="*/ 545 w 650"/>
                <a:gd name="T55" fmla="*/ 1370 h 1704"/>
                <a:gd name="T56" fmla="*/ 457 w 650"/>
                <a:gd name="T57" fmla="*/ 1440 h 1704"/>
                <a:gd name="T58" fmla="*/ 404 w 650"/>
                <a:gd name="T59" fmla="*/ 1458 h 1704"/>
                <a:gd name="T60" fmla="*/ 351 w 650"/>
                <a:gd name="T61" fmla="*/ 1423 h 1704"/>
                <a:gd name="T62" fmla="*/ 299 w 650"/>
                <a:gd name="T63" fmla="*/ 1423 h 1704"/>
                <a:gd name="T64" fmla="*/ 281 w 650"/>
                <a:gd name="T65" fmla="*/ 1440 h 1704"/>
                <a:gd name="T66" fmla="*/ 281 w 650"/>
                <a:gd name="T67" fmla="*/ 1598 h 1704"/>
                <a:gd name="T68" fmla="*/ 228 w 650"/>
                <a:gd name="T69" fmla="*/ 1633 h 1704"/>
                <a:gd name="T70" fmla="*/ 211 w 650"/>
                <a:gd name="T71" fmla="*/ 1669 h 1704"/>
                <a:gd name="T72" fmla="*/ 246 w 650"/>
                <a:gd name="T73" fmla="*/ 1704 h 1704"/>
                <a:gd name="T74" fmla="*/ 176 w 650"/>
                <a:gd name="T75" fmla="*/ 1633 h 1704"/>
                <a:gd name="T76" fmla="*/ 228 w 650"/>
                <a:gd name="T77" fmla="*/ 1563 h 1704"/>
                <a:gd name="T78" fmla="*/ 211 w 650"/>
                <a:gd name="T79" fmla="*/ 1493 h 1704"/>
                <a:gd name="T80" fmla="*/ 193 w 650"/>
                <a:gd name="T81" fmla="*/ 1440 h 1704"/>
                <a:gd name="T82" fmla="*/ 88 w 650"/>
                <a:gd name="T83" fmla="*/ 1300 h 1704"/>
                <a:gd name="T84" fmla="*/ 0 w 650"/>
                <a:gd name="T85" fmla="*/ 1229 h 1704"/>
                <a:gd name="T86" fmla="*/ 35 w 650"/>
                <a:gd name="T87" fmla="*/ 1054 h 1704"/>
                <a:gd name="T88" fmla="*/ 123 w 650"/>
                <a:gd name="T89" fmla="*/ 1036 h 1704"/>
                <a:gd name="T90" fmla="*/ 211 w 650"/>
                <a:gd name="T91" fmla="*/ 1036 h 1704"/>
                <a:gd name="T92" fmla="*/ 176 w 650"/>
                <a:gd name="T93" fmla="*/ 808 h 1704"/>
                <a:gd name="T94" fmla="*/ 123 w 650"/>
                <a:gd name="T95" fmla="*/ 650 h 1704"/>
                <a:gd name="T96" fmla="*/ 123 w 650"/>
                <a:gd name="T97" fmla="*/ 650 h 17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50"/>
                <a:gd name="T148" fmla="*/ 0 h 1704"/>
                <a:gd name="T149" fmla="*/ 650 w 650"/>
                <a:gd name="T150" fmla="*/ 1704 h 170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50" h="1704">
                  <a:moveTo>
                    <a:pt x="123" y="650"/>
                  </a:moveTo>
                  <a:lnTo>
                    <a:pt x="123" y="650"/>
                  </a:lnTo>
                  <a:lnTo>
                    <a:pt x="158" y="650"/>
                  </a:lnTo>
                  <a:lnTo>
                    <a:pt x="176" y="632"/>
                  </a:lnTo>
                  <a:lnTo>
                    <a:pt x="158" y="597"/>
                  </a:lnTo>
                  <a:lnTo>
                    <a:pt x="158" y="562"/>
                  </a:lnTo>
                  <a:lnTo>
                    <a:pt x="176" y="509"/>
                  </a:lnTo>
                  <a:lnTo>
                    <a:pt x="193" y="492"/>
                  </a:lnTo>
                  <a:lnTo>
                    <a:pt x="211" y="474"/>
                  </a:lnTo>
                  <a:lnTo>
                    <a:pt x="281" y="474"/>
                  </a:lnTo>
                  <a:lnTo>
                    <a:pt x="351" y="457"/>
                  </a:lnTo>
                  <a:lnTo>
                    <a:pt x="404" y="439"/>
                  </a:lnTo>
                  <a:lnTo>
                    <a:pt x="422" y="404"/>
                  </a:lnTo>
                  <a:lnTo>
                    <a:pt x="422" y="369"/>
                  </a:lnTo>
                  <a:lnTo>
                    <a:pt x="404" y="334"/>
                  </a:lnTo>
                  <a:lnTo>
                    <a:pt x="387" y="299"/>
                  </a:lnTo>
                  <a:lnTo>
                    <a:pt x="404" y="299"/>
                  </a:lnTo>
                  <a:lnTo>
                    <a:pt x="422" y="281"/>
                  </a:lnTo>
                  <a:lnTo>
                    <a:pt x="457" y="246"/>
                  </a:lnTo>
                  <a:lnTo>
                    <a:pt x="457" y="158"/>
                  </a:lnTo>
                  <a:lnTo>
                    <a:pt x="439" y="158"/>
                  </a:lnTo>
                  <a:lnTo>
                    <a:pt x="404" y="158"/>
                  </a:lnTo>
                  <a:lnTo>
                    <a:pt x="316" y="123"/>
                  </a:lnTo>
                  <a:lnTo>
                    <a:pt x="404" y="0"/>
                  </a:lnTo>
                  <a:lnTo>
                    <a:pt x="457" y="18"/>
                  </a:lnTo>
                  <a:lnTo>
                    <a:pt x="510" y="53"/>
                  </a:lnTo>
                  <a:lnTo>
                    <a:pt x="510" y="105"/>
                  </a:lnTo>
                  <a:lnTo>
                    <a:pt x="510" y="123"/>
                  </a:lnTo>
                  <a:lnTo>
                    <a:pt x="527" y="123"/>
                  </a:lnTo>
                  <a:lnTo>
                    <a:pt x="580" y="105"/>
                  </a:lnTo>
                  <a:lnTo>
                    <a:pt x="597" y="211"/>
                  </a:lnTo>
                  <a:lnTo>
                    <a:pt x="632" y="334"/>
                  </a:lnTo>
                  <a:lnTo>
                    <a:pt x="650" y="808"/>
                  </a:lnTo>
                  <a:lnTo>
                    <a:pt x="650" y="1001"/>
                  </a:lnTo>
                  <a:lnTo>
                    <a:pt x="632" y="1142"/>
                  </a:lnTo>
                  <a:lnTo>
                    <a:pt x="615" y="1229"/>
                  </a:lnTo>
                  <a:lnTo>
                    <a:pt x="562" y="1335"/>
                  </a:lnTo>
                  <a:lnTo>
                    <a:pt x="545" y="1370"/>
                  </a:lnTo>
                  <a:lnTo>
                    <a:pt x="492" y="1423"/>
                  </a:lnTo>
                  <a:lnTo>
                    <a:pt x="457" y="1440"/>
                  </a:lnTo>
                  <a:lnTo>
                    <a:pt x="404" y="1458"/>
                  </a:lnTo>
                  <a:lnTo>
                    <a:pt x="369" y="1440"/>
                  </a:lnTo>
                  <a:lnTo>
                    <a:pt x="351" y="1423"/>
                  </a:lnTo>
                  <a:lnTo>
                    <a:pt x="334" y="1405"/>
                  </a:lnTo>
                  <a:lnTo>
                    <a:pt x="299" y="1423"/>
                  </a:lnTo>
                  <a:lnTo>
                    <a:pt x="281" y="1440"/>
                  </a:lnTo>
                  <a:lnTo>
                    <a:pt x="281" y="1475"/>
                  </a:lnTo>
                  <a:lnTo>
                    <a:pt x="281" y="1598"/>
                  </a:lnTo>
                  <a:lnTo>
                    <a:pt x="228" y="1633"/>
                  </a:lnTo>
                  <a:lnTo>
                    <a:pt x="211" y="1651"/>
                  </a:lnTo>
                  <a:lnTo>
                    <a:pt x="211" y="1669"/>
                  </a:lnTo>
                  <a:lnTo>
                    <a:pt x="246" y="1704"/>
                  </a:lnTo>
                  <a:lnTo>
                    <a:pt x="193" y="1669"/>
                  </a:lnTo>
                  <a:lnTo>
                    <a:pt x="176" y="1633"/>
                  </a:lnTo>
                  <a:lnTo>
                    <a:pt x="176" y="1598"/>
                  </a:lnTo>
                  <a:lnTo>
                    <a:pt x="228" y="1563"/>
                  </a:lnTo>
                  <a:lnTo>
                    <a:pt x="211" y="1493"/>
                  </a:lnTo>
                  <a:lnTo>
                    <a:pt x="193" y="1440"/>
                  </a:lnTo>
                  <a:lnTo>
                    <a:pt x="123" y="1352"/>
                  </a:lnTo>
                  <a:lnTo>
                    <a:pt x="88" y="1300"/>
                  </a:lnTo>
                  <a:lnTo>
                    <a:pt x="0" y="1229"/>
                  </a:lnTo>
                  <a:lnTo>
                    <a:pt x="18" y="1159"/>
                  </a:lnTo>
                  <a:lnTo>
                    <a:pt x="35" y="1054"/>
                  </a:lnTo>
                  <a:lnTo>
                    <a:pt x="123" y="1036"/>
                  </a:lnTo>
                  <a:lnTo>
                    <a:pt x="211" y="1036"/>
                  </a:lnTo>
                  <a:lnTo>
                    <a:pt x="193" y="913"/>
                  </a:lnTo>
                  <a:lnTo>
                    <a:pt x="176" y="808"/>
                  </a:lnTo>
                  <a:lnTo>
                    <a:pt x="123" y="650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8"/>
            <p:cNvSpPr>
              <a:spLocks/>
            </p:cNvSpPr>
            <p:nvPr/>
          </p:nvSpPr>
          <p:spPr bwMode="auto">
            <a:xfrm>
              <a:off x="4629543" y="2391250"/>
              <a:ext cx="1458567" cy="3440113"/>
            </a:xfrm>
            <a:custGeom>
              <a:avLst/>
              <a:gdLst>
                <a:gd name="T0" fmla="*/ 193 w 2406"/>
                <a:gd name="T1" fmla="*/ 2213 h 5674"/>
                <a:gd name="T2" fmla="*/ 228 w 2406"/>
                <a:gd name="T3" fmla="*/ 2477 h 5674"/>
                <a:gd name="T4" fmla="*/ 298 w 2406"/>
                <a:gd name="T5" fmla="*/ 2863 h 5674"/>
                <a:gd name="T6" fmla="*/ 369 w 2406"/>
                <a:gd name="T7" fmla="*/ 3127 h 5674"/>
                <a:gd name="T8" fmla="*/ 316 w 2406"/>
                <a:gd name="T9" fmla="*/ 3373 h 5674"/>
                <a:gd name="T10" fmla="*/ 333 w 2406"/>
                <a:gd name="T11" fmla="*/ 3583 h 5674"/>
                <a:gd name="T12" fmla="*/ 246 w 2406"/>
                <a:gd name="T13" fmla="*/ 3777 h 5674"/>
                <a:gd name="T14" fmla="*/ 421 w 2406"/>
                <a:gd name="T15" fmla="*/ 3952 h 5674"/>
                <a:gd name="T16" fmla="*/ 650 w 2406"/>
                <a:gd name="T17" fmla="*/ 4128 h 5674"/>
                <a:gd name="T18" fmla="*/ 667 w 2406"/>
                <a:gd name="T19" fmla="*/ 4356 h 5674"/>
                <a:gd name="T20" fmla="*/ 667 w 2406"/>
                <a:gd name="T21" fmla="*/ 4672 h 5674"/>
                <a:gd name="T22" fmla="*/ 667 w 2406"/>
                <a:gd name="T23" fmla="*/ 4901 h 5674"/>
                <a:gd name="T24" fmla="*/ 825 w 2406"/>
                <a:gd name="T25" fmla="*/ 4971 h 5674"/>
                <a:gd name="T26" fmla="*/ 1019 w 2406"/>
                <a:gd name="T27" fmla="*/ 5287 h 5674"/>
                <a:gd name="T28" fmla="*/ 966 w 2406"/>
                <a:gd name="T29" fmla="*/ 5480 h 5674"/>
                <a:gd name="T30" fmla="*/ 1036 w 2406"/>
                <a:gd name="T31" fmla="*/ 5656 h 5674"/>
                <a:gd name="T32" fmla="*/ 1352 w 2406"/>
                <a:gd name="T33" fmla="*/ 5392 h 5674"/>
                <a:gd name="T34" fmla="*/ 1581 w 2406"/>
                <a:gd name="T35" fmla="*/ 5234 h 5674"/>
                <a:gd name="T36" fmla="*/ 1528 w 2406"/>
                <a:gd name="T37" fmla="*/ 5059 h 5674"/>
                <a:gd name="T38" fmla="*/ 1598 w 2406"/>
                <a:gd name="T39" fmla="*/ 4883 h 5674"/>
                <a:gd name="T40" fmla="*/ 1669 w 2406"/>
                <a:gd name="T41" fmla="*/ 4602 h 5674"/>
                <a:gd name="T42" fmla="*/ 1756 w 2406"/>
                <a:gd name="T43" fmla="*/ 4374 h 5674"/>
                <a:gd name="T44" fmla="*/ 1950 w 2406"/>
                <a:gd name="T45" fmla="*/ 4391 h 5674"/>
                <a:gd name="T46" fmla="*/ 2020 w 2406"/>
                <a:gd name="T47" fmla="*/ 4233 h 5674"/>
                <a:gd name="T48" fmla="*/ 2108 w 2406"/>
                <a:gd name="T49" fmla="*/ 4075 h 5674"/>
                <a:gd name="T50" fmla="*/ 2160 w 2406"/>
                <a:gd name="T51" fmla="*/ 3987 h 5674"/>
                <a:gd name="T52" fmla="*/ 2354 w 2406"/>
                <a:gd name="T53" fmla="*/ 4005 h 5674"/>
                <a:gd name="T54" fmla="*/ 2319 w 2406"/>
                <a:gd name="T55" fmla="*/ 3847 h 5674"/>
                <a:gd name="T56" fmla="*/ 2248 w 2406"/>
                <a:gd name="T57" fmla="*/ 3724 h 5674"/>
                <a:gd name="T58" fmla="*/ 2266 w 2406"/>
                <a:gd name="T59" fmla="*/ 3478 h 5674"/>
                <a:gd name="T60" fmla="*/ 2336 w 2406"/>
                <a:gd name="T61" fmla="*/ 3302 h 5674"/>
                <a:gd name="T62" fmla="*/ 2283 w 2406"/>
                <a:gd name="T63" fmla="*/ 3127 h 5674"/>
                <a:gd name="T64" fmla="*/ 2336 w 2406"/>
                <a:gd name="T65" fmla="*/ 2916 h 5674"/>
                <a:gd name="T66" fmla="*/ 2336 w 2406"/>
                <a:gd name="T67" fmla="*/ 2863 h 5674"/>
                <a:gd name="T68" fmla="*/ 2196 w 2406"/>
                <a:gd name="T69" fmla="*/ 2670 h 5674"/>
                <a:gd name="T70" fmla="*/ 2125 w 2406"/>
                <a:gd name="T71" fmla="*/ 2371 h 5674"/>
                <a:gd name="T72" fmla="*/ 2108 w 2406"/>
                <a:gd name="T73" fmla="*/ 2108 h 5674"/>
                <a:gd name="T74" fmla="*/ 2160 w 2406"/>
                <a:gd name="T75" fmla="*/ 1669 h 5674"/>
                <a:gd name="T76" fmla="*/ 2301 w 2406"/>
                <a:gd name="T77" fmla="*/ 1335 h 5674"/>
                <a:gd name="T78" fmla="*/ 2213 w 2406"/>
                <a:gd name="T79" fmla="*/ 1124 h 5674"/>
                <a:gd name="T80" fmla="*/ 2055 w 2406"/>
                <a:gd name="T81" fmla="*/ 826 h 5674"/>
                <a:gd name="T82" fmla="*/ 1950 w 2406"/>
                <a:gd name="T83" fmla="*/ 773 h 5674"/>
                <a:gd name="T84" fmla="*/ 1774 w 2406"/>
                <a:gd name="T85" fmla="*/ 1054 h 5674"/>
                <a:gd name="T86" fmla="*/ 2002 w 2406"/>
                <a:gd name="T87" fmla="*/ 246 h 5674"/>
                <a:gd name="T88" fmla="*/ 1633 w 2406"/>
                <a:gd name="T89" fmla="*/ 246 h 5674"/>
                <a:gd name="T90" fmla="*/ 1510 w 2406"/>
                <a:gd name="T91" fmla="*/ 123 h 5674"/>
                <a:gd name="T92" fmla="*/ 1440 w 2406"/>
                <a:gd name="T93" fmla="*/ 18 h 5674"/>
                <a:gd name="T94" fmla="*/ 1300 w 2406"/>
                <a:gd name="T95" fmla="*/ 316 h 5674"/>
                <a:gd name="T96" fmla="*/ 1177 w 2406"/>
                <a:gd name="T97" fmla="*/ 422 h 5674"/>
                <a:gd name="T98" fmla="*/ 1071 w 2406"/>
                <a:gd name="T99" fmla="*/ 404 h 5674"/>
                <a:gd name="T100" fmla="*/ 878 w 2406"/>
                <a:gd name="T101" fmla="*/ 527 h 5674"/>
                <a:gd name="T102" fmla="*/ 632 w 2406"/>
                <a:gd name="T103" fmla="*/ 984 h 5674"/>
                <a:gd name="T104" fmla="*/ 210 w 2406"/>
                <a:gd name="T105" fmla="*/ 1124 h 5674"/>
                <a:gd name="T106" fmla="*/ 281 w 2406"/>
                <a:gd name="T107" fmla="*/ 1318 h 5674"/>
                <a:gd name="T108" fmla="*/ 333 w 2406"/>
                <a:gd name="T109" fmla="*/ 1599 h 5674"/>
                <a:gd name="T110" fmla="*/ 298 w 2406"/>
                <a:gd name="T111" fmla="*/ 1599 h 5674"/>
                <a:gd name="T112" fmla="*/ 316 w 2406"/>
                <a:gd name="T113" fmla="*/ 1388 h 5674"/>
                <a:gd name="T114" fmla="*/ 52 w 2406"/>
                <a:gd name="T115" fmla="*/ 1230 h 5674"/>
                <a:gd name="T116" fmla="*/ 140 w 2406"/>
                <a:gd name="T117" fmla="*/ 1405 h 5674"/>
                <a:gd name="T118" fmla="*/ 140 w 2406"/>
                <a:gd name="T119" fmla="*/ 1651 h 5674"/>
                <a:gd name="T120" fmla="*/ 140 w 2406"/>
                <a:gd name="T121" fmla="*/ 1950 h 5674"/>
                <a:gd name="T122" fmla="*/ 228 w 2406"/>
                <a:gd name="T123" fmla="*/ 2108 h 567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406"/>
                <a:gd name="T187" fmla="*/ 0 h 5674"/>
                <a:gd name="T188" fmla="*/ 2406 w 2406"/>
                <a:gd name="T189" fmla="*/ 5674 h 567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406" h="5674">
                  <a:moveTo>
                    <a:pt x="228" y="2143"/>
                  </a:moveTo>
                  <a:lnTo>
                    <a:pt x="228" y="2126"/>
                  </a:lnTo>
                  <a:lnTo>
                    <a:pt x="228" y="2143"/>
                  </a:lnTo>
                  <a:lnTo>
                    <a:pt x="210" y="2178"/>
                  </a:lnTo>
                  <a:lnTo>
                    <a:pt x="193" y="2213"/>
                  </a:lnTo>
                  <a:lnTo>
                    <a:pt x="158" y="2213"/>
                  </a:lnTo>
                  <a:lnTo>
                    <a:pt x="158" y="2231"/>
                  </a:lnTo>
                  <a:lnTo>
                    <a:pt x="140" y="2249"/>
                  </a:lnTo>
                  <a:lnTo>
                    <a:pt x="175" y="2407"/>
                  </a:lnTo>
                  <a:lnTo>
                    <a:pt x="210" y="2442"/>
                  </a:lnTo>
                  <a:lnTo>
                    <a:pt x="228" y="2459"/>
                  </a:lnTo>
                  <a:lnTo>
                    <a:pt x="228" y="2477"/>
                  </a:lnTo>
                  <a:lnTo>
                    <a:pt x="228" y="2617"/>
                  </a:lnTo>
                  <a:lnTo>
                    <a:pt x="246" y="2653"/>
                  </a:lnTo>
                  <a:lnTo>
                    <a:pt x="263" y="2688"/>
                  </a:lnTo>
                  <a:lnTo>
                    <a:pt x="316" y="2723"/>
                  </a:lnTo>
                  <a:lnTo>
                    <a:pt x="333" y="2828"/>
                  </a:lnTo>
                  <a:lnTo>
                    <a:pt x="298" y="2863"/>
                  </a:lnTo>
                  <a:lnTo>
                    <a:pt x="316" y="2881"/>
                  </a:lnTo>
                  <a:lnTo>
                    <a:pt x="351" y="2916"/>
                  </a:lnTo>
                  <a:lnTo>
                    <a:pt x="439" y="2916"/>
                  </a:lnTo>
                  <a:lnTo>
                    <a:pt x="439" y="3021"/>
                  </a:lnTo>
                  <a:lnTo>
                    <a:pt x="421" y="3074"/>
                  </a:lnTo>
                  <a:lnTo>
                    <a:pt x="404" y="3109"/>
                  </a:lnTo>
                  <a:lnTo>
                    <a:pt x="369" y="3127"/>
                  </a:lnTo>
                  <a:lnTo>
                    <a:pt x="351" y="3179"/>
                  </a:lnTo>
                  <a:lnTo>
                    <a:pt x="369" y="3232"/>
                  </a:lnTo>
                  <a:lnTo>
                    <a:pt x="386" y="3250"/>
                  </a:lnTo>
                  <a:lnTo>
                    <a:pt x="386" y="3285"/>
                  </a:lnTo>
                  <a:lnTo>
                    <a:pt x="369" y="3302"/>
                  </a:lnTo>
                  <a:lnTo>
                    <a:pt x="351" y="3320"/>
                  </a:lnTo>
                  <a:lnTo>
                    <a:pt x="333" y="3355"/>
                  </a:lnTo>
                  <a:lnTo>
                    <a:pt x="316" y="3373"/>
                  </a:lnTo>
                  <a:lnTo>
                    <a:pt x="316" y="3408"/>
                  </a:lnTo>
                  <a:lnTo>
                    <a:pt x="298" y="3443"/>
                  </a:lnTo>
                  <a:lnTo>
                    <a:pt x="281" y="3443"/>
                  </a:lnTo>
                  <a:lnTo>
                    <a:pt x="263" y="3443"/>
                  </a:lnTo>
                  <a:lnTo>
                    <a:pt x="281" y="3496"/>
                  </a:lnTo>
                  <a:lnTo>
                    <a:pt x="298" y="3548"/>
                  </a:lnTo>
                  <a:lnTo>
                    <a:pt x="333" y="3583"/>
                  </a:lnTo>
                  <a:lnTo>
                    <a:pt x="404" y="3601"/>
                  </a:lnTo>
                  <a:lnTo>
                    <a:pt x="386" y="3636"/>
                  </a:lnTo>
                  <a:lnTo>
                    <a:pt x="369" y="3654"/>
                  </a:lnTo>
                  <a:lnTo>
                    <a:pt x="316" y="3689"/>
                  </a:lnTo>
                  <a:lnTo>
                    <a:pt x="263" y="3706"/>
                  </a:lnTo>
                  <a:lnTo>
                    <a:pt x="246" y="3724"/>
                  </a:lnTo>
                  <a:lnTo>
                    <a:pt x="228" y="3759"/>
                  </a:lnTo>
                  <a:lnTo>
                    <a:pt x="246" y="3777"/>
                  </a:lnTo>
                  <a:lnTo>
                    <a:pt x="246" y="3794"/>
                  </a:lnTo>
                  <a:lnTo>
                    <a:pt x="263" y="3812"/>
                  </a:lnTo>
                  <a:lnTo>
                    <a:pt x="263" y="3847"/>
                  </a:lnTo>
                  <a:lnTo>
                    <a:pt x="263" y="3917"/>
                  </a:lnTo>
                  <a:lnTo>
                    <a:pt x="281" y="3952"/>
                  </a:lnTo>
                  <a:lnTo>
                    <a:pt x="298" y="3970"/>
                  </a:lnTo>
                  <a:lnTo>
                    <a:pt x="421" y="3952"/>
                  </a:lnTo>
                  <a:lnTo>
                    <a:pt x="456" y="3952"/>
                  </a:lnTo>
                  <a:lnTo>
                    <a:pt x="492" y="3987"/>
                  </a:lnTo>
                  <a:lnTo>
                    <a:pt x="509" y="4005"/>
                  </a:lnTo>
                  <a:lnTo>
                    <a:pt x="544" y="4023"/>
                  </a:lnTo>
                  <a:lnTo>
                    <a:pt x="579" y="4093"/>
                  </a:lnTo>
                  <a:lnTo>
                    <a:pt x="632" y="4110"/>
                  </a:lnTo>
                  <a:lnTo>
                    <a:pt x="650" y="4128"/>
                  </a:lnTo>
                  <a:lnTo>
                    <a:pt x="667" y="4145"/>
                  </a:lnTo>
                  <a:lnTo>
                    <a:pt x="650" y="4181"/>
                  </a:lnTo>
                  <a:lnTo>
                    <a:pt x="632" y="4216"/>
                  </a:lnTo>
                  <a:lnTo>
                    <a:pt x="614" y="4251"/>
                  </a:lnTo>
                  <a:lnTo>
                    <a:pt x="597" y="4304"/>
                  </a:lnTo>
                  <a:lnTo>
                    <a:pt x="597" y="4321"/>
                  </a:lnTo>
                  <a:lnTo>
                    <a:pt x="614" y="4339"/>
                  </a:lnTo>
                  <a:lnTo>
                    <a:pt x="667" y="4356"/>
                  </a:lnTo>
                  <a:lnTo>
                    <a:pt x="720" y="4374"/>
                  </a:lnTo>
                  <a:lnTo>
                    <a:pt x="720" y="4391"/>
                  </a:lnTo>
                  <a:lnTo>
                    <a:pt x="737" y="4409"/>
                  </a:lnTo>
                  <a:lnTo>
                    <a:pt x="720" y="4462"/>
                  </a:lnTo>
                  <a:lnTo>
                    <a:pt x="702" y="4479"/>
                  </a:lnTo>
                  <a:lnTo>
                    <a:pt x="667" y="4497"/>
                  </a:lnTo>
                  <a:lnTo>
                    <a:pt x="667" y="4532"/>
                  </a:lnTo>
                  <a:lnTo>
                    <a:pt x="667" y="4672"/>
                  </a:lnTo>
                  <a:lnTo>
                    <a:pt x="667" y="4707"/>
                  </a:lnTo>
                  <a:lnTo>
                    <a:pt x="702" y="4725"/>
                  </a:lnTo>
                  <a:lnTo>
                    <a:pt x="720" y="4778"/>
                  </a:lnTo>
                  <a:lnTo>
                    <a:pt x="737" y="4813"/>
                  </a:lnTo>
                  <a:lnTo>
                    <a:pt x="720" y="4848"/>
                  </a:lnTo>
                  <a:lnTo>
                    <a:pt x="702" y="4866"/>
                  </a:lnTo>
                  <a:lnTo>
                    <a:pt x="685" y="4883"/>
                  </a:lnTo>
                  <a:lnTo>
                    <a:pt x="667" y="4901"/>
                  </a:lnTo>
                  <a:lnTo>
                    <a:pt x="702" y="4953"/>
                  </a:lnTo>
                  <a:lnTo>
                    <a:pt x="737" y="4971"/>
                  </a:lnTo>
                  <a:lnTo>
                    <a:pt x="755" y="4989"/>
                  </a:lnTo>
                  <a:lnTo>
                    <a:pt x="825" y="4971"/>
                  </a:lnTo>
                  <a:lnTo>
                    <a:pt x="860" y="4989"/>
                  </a:lnTo>
                  <a:lnTo>
                    <a:pt x="878" y="5006"/>
                  </a:lnTo>
                  <a:lnTo>
                    <a:pt x="913" y="5041"/>
                  </a:lnTo>
                  <a:lnTo>
                    <a:pt x="931" y="5076"/>
                  </a:lnTo>
                  <a:lnTo>
                    <a:pt x="966" y="5147"/>
                  </a:lnTo>
                  <a:lnTo>
                    <a:pt x="983" y="5217"/>
                  </a:lnTo>
                  <a:lnTo>
                    <a:pt x="1019" y="5287"/>
                  </a:lnTo>
                  <a:lnTo>
                    <a:pt x="1036" y="5305"/>
                  </a:lnTo>
                  <a:lnTo>
                    <a:pt x="1036" y="5340"/>
                  </a:lnTo>
                  <a:lnTo>
                    <a:pt x="1019" y="5375"/>
                  </a:lnTo>
                  <a:lnTo>
                    <a:pt x="1001" y="5392"/>
                  </a:lnTo>
                  <a:lnTo>
                    <a:pt x="1001" y="5428"/>
                  </a:lnTo>
                  <a:lnTo>
                    <a:pt x="983" y="5445"/>
                  </a:lnTo>
                  <a:lnTo>
                    <a:pt x="966" y="5480"/>
                  </a:lnTo>
                  <a:lnTo>
                    <a:pt x="931" y="5515"/>
                  </a:lnTo>
                  <a:lnTo>
                    <a:pt x="896" y="5551"/>
                  </a:lnTo>
                  <a:lnTo>
                    <a:pt x="878" y="5603"/>
                  </a:lnTo>
                  <a:lnTo>
                    <a:pt x="913" y="5638"/>
                  </a:lnTo>
                  <a:lnTo>
                    <a:pt x="1001" y="5638"/>
                  </a:lnTo>
                  <a:lnTo>
                    <a:pt x="1036" y="5656"/>
                  </a:lnTo>
                  <a:lnTo>
                    <a:pt x="1071" y="5674"/>
                  </a:lnTo>
                  <a:lnTo>
                    <a:pt x="1124" y="5656"/>
                  </a:lnTo>
                  <a:lnTo>
                    <a:pt x="1159" y="5638"/>
                  </a:lnTo>
                  <a:lnTo>
                    <a:pt x="1229" y="5586"/>
                  </a:lnTo>
                  <a:lnTo>
                    <a:pt x="1282" y="5515"/>
                  </a:lnTo>
                  <a:lnTo>
                    <a:pt x="1317" y="5428"/>
                  </a:lnTo>
                  <a:lnTo>
                    <a:pt x="1335" y="5410"/>
                  </a:lnTo>
                  <a:lnTo>
                    <a:pt x="1352" y="5392"/>
                  </a:lnTo>
                  <a:lnTo>
                    <a:pt x="1370" y="5357"/>
                  </a:lnTo>
                  <a:lnTo>
                    <a:pt x="1370" y="5340"/>
                  </a:lnTo>
                  <a:lnTo>
                    <a:pt x="1370" y="5322"/>
                  </a:lnTo>
                  <a:lnTo>
                    <a:pt x="1475" y="5287"/>
                  </a:lnTo>
                  <a:lnTo>
                    <a:pt x="1581" y="5270"/>
                  </a:lnTo>
                  <a:lnTo>
                    <a:pt x="1598" y="5252"/>
                  </a:lnTo>
                  <a:lnTo>
                    <a:pt x="1581" y="5234"/>
                  </a:lnTo>
                  <a:lnTo>
                    <a:pt x="1563" y="5217"/>
                  </a:lnTo>
                  <a:lnTo>
                    <a:pt x="1528" y="5199"/>
                  </a:lnTo>
                  <a:lnTo>
                    <a:pt x="1493" y="5147"/>
                  </a:lnTo>
                  <a:lnTo>
                    <a:pt x="1475" y="5129"/>
                  </a:lnTo>
                  <a:lnTo>
                    <a:pt x="1458" y="5111"/>
                  </a:lnTo>
                  <a:lnTo>
                    <a:pt x="1493" y="5076"/>
                  </a:lnTo>
                  <a:lnTo>
                    <a:pt x="1528" y="5059"/>
                  </a:lnTo>
                  <a:lnTo>
                    <a:pt x="1563" y="5059"/>
                  </a:lnTo>
                  <a:lnTo>
                    <a:pt x="1581" y="5041"/>
                  </a:lnTo>
                  <a:lnTo>
                    <a:pt x="1581" y="5006"/>
                  </a:lnTo>
                  <a:lnTo>
                    <a:pt x="1563" y="4953"/>
                  </a:lnTo>
                  <a:lnTo>
                    <a:pt x="1581" y="4918"/>
                  </a:lnTo>
                  <a:lnTo>
                    <a:pt x="1598" y="4883"/>
                  </a:lnTo>
                  <a:lnTo>
                    <a:pt x="1581" y="4848"/>
                  </a:lnTo>
                  <a:lnTo>
                    <a:pt x="1563" y="4813"/>
                  </a:lnTo>
                  <a:lnTo>
                    <a:pt x="1598" y="4725"/>
                  </a:lnTo>
                  <a:lnTo>
                    <a:pt x="1633" y="4707"/>
                  </a:lnTo>
                  <a:lnTo>
                    <a:pt x="1651" y="4690"/>
                  </a:lnTo>
                  <a:lnTo>
                    <a:pt x="1669" y="4637"/>
                  </a:lnTo>
                  <a:lnTo>
                    <a:pt x="1669" y="4602"/>
                  </a:lnTo>
                  <a:lnTo>
                    <a:pt x="1651" y="4567"/>
                  </a:lnTo>
                  <a:lnTo>
                    <a:pt x="1616" y="4549"/>
                  </a:lnTo>
                  <a:lnTo>
                    <a:pt x="1616" y="4514"/>
                  </a:lnTo>
                  <a:lnTo>
                    <a:pt x="1633" y="4409"/>
                  </a:lnTo>
                  <a:lnTo>
                    <a:pt x="1651" y="4374"/>
                  </a:lnTo>
                  <a:lnTo>
                    <a:pt x="1686" y="4374"/>
                  </a:lnTo>
                  <a:lnTo>
                    <a:pt x="1756" y="4374"/>
                  </a:lnTo>
                  <a:lnTo>
                    <a:pt x="1792" y="4356"/>
                  </a:lnTo>
                  <a:lnTo>
                    <a:pt x="1809" y="4321"/>
                  </a:lnTo>
                  <a:lnTo>
                    <a:pt x="1844" y="4286"/>
                  </a:lnTo>
                  <a:lnTo>
                    <a:pt x="1862" y="4286"/>
                  </a:lnTo>
                  <a:lnTo>
                    <a:pt x="1879" y="4286"/>
                  </a:lnTo>
                  <a:lnTo>
                    <a:pt x="1897" y="4304"/>
                  </a:lnTo>
                  <a:lnTo>
                    <a:pt x="1915" y="4339"/>
                  </a:lnTo>
                  <a:lnTo>
                    <a:pt x="1932" y="4374"/>
                  </a:lnTo>
                  <a:lnTo>
                    <a:pt x="1950" y="4391"/>
                  </a:lnTo>
                  <a:lnTo>
                    <a:pt x="1967" y="4409"/>
                  </a:lnTo>
                  <a:lnTo>
                    <a:pt x="1985" y="4391"/>
                  </a:lnTo>
                  <a:lnTo>
                    <a:pt x="1985" y="4374"/>
                  </a:lnTo>
                  <a:lnTo>
                    <a:pt x="1967" y="4321"/>
                  </a:lnTo>
                  <a:lnTo>
                    <a:pt x="1985" y="4268"/>
                  </a:lnTo>
                  <a:lnTo>
                    <a:pt x="2002" y="4233"/>
                  </a:lnTo>
                  <a:lnTo>
                    <a:pt x="2020" y="4233"/>
                  </a:lnTo>
                  <a:lnTo>
                    <a:pt x="2037" y="4216"/>
                  </a:lnTo>
                  <a:lnTo>
                    <a:pt x="2037" y="4198"/>
                  </a:lnTo>
                  <a:lnTo>
                    <a:pt x="2037" y="4181"/>
                  </a:lnTo>
                  <a:lnTo>
                    <a:pt x="2090" y="4128"/>
                  </a:lnTo>
                  <a:lnTo>
                    <a:pt x="2108" y="4110"/>
                  </a:lnTo>
                  <a:lnTo>
                    <a:pt x="2108" y="4075"/>
                  </a:lnTo>
                  <a:lnTo>
                    <a:pt x="2090" y="4058"/>
                  </a:lnTo>
                  <a:lnTo>
                    <a:pt x="2090" y="4040"/>
                  </a:lnTo>
                  <a:lnTo>
                    <a:pt x="2090" y="4023"/>
                  </a:lnTo>
                  <a:lnTo>
                    <a:pt x="2108" y="4005"/>
                  </a:lnTo>
                  <a:lnTo>
                    <a:pt x="2125" y="3987"/>
                  </a:lnTo>
                  <a:lnTo>
                    <a:pt x="2160" y="3987"/>
                  </a:lnTo>
                  <a:lnTo>
                    <a:pt x="2178" y="3987"/>
                  </a:lnTo>
                  <a:lnTo>
                    <a:pt x="2178" y="4023"/>
                  </a:lnTo>
                  <a:lnTo>
                    <a:pt x="2248" y="4058"/>
                  </a:lnTo>
                  <a:lnTo>
                    <a:pt x="2301" y="4075"/>
                  </a:lnTo>
                  <a:lnTo>
                    <a:pt x="2336" y="4075"/>
                  </a:lnTo>
                  <a:lnTo>
                    <a:pt x="2354" y="4040"/>
                  </a:lnTo>
                  <a:lnTo>
                    <a:pt x="2354" y="4005"/>
                  </a:lnTo>
                  <a:lnTo>
                    <a:pt x="2371" y="3987"/>
                  </a:lnTo>
                  <a:lnTo>
                    <a:pt x="2371" y="3970"/>
                  </a:lnTo>
                  <a:lnTo>
                    <a:pt x="2371" y="3935"/>
                  </a:lnTo>
                  <a:lnTo>
                    <a:pt x="2336" y="3900"/>
                  </a:lnTo>
                  <a:lnTo>
                    <a:pt x="2301" y="3864"/>
                  </a:lnTo>
                  <a:lnTo>
                    <a:pt x="2319" y="3847"/>
                  </a:lnTo>
                  <a:lnTo>
                    <a:pt x="2336" y="3829"/>
                  </a:lnTo>
                  <a:lnTo>
                    <a:pt x="2354" y="3812"/>
                  </a:lnTo>
                  <a:lnTo>
                    <a:pt x="2371" y="3777"/>
                  </a:lnTo>
                  <a:lnTo>
                    <a:pt x="2354" y="3741"/>
                  </a:lnTo>
                  <a:lnTo>
                    <a:pt x="2336" y="3724"/>
                  </a:lnTo>
                  <a:lnTo>
                    <a:pt x="2248" y="3724"/>
                  </a:lnTo>
                  <a:lnTo>
                    <a:pt x="2231" y="3689"/>
                  </a:lnTo>
                  <a:lnTo>
                    <a:pt x="2231" y="3619"/>
                  </a:lnTo>
                  <a:lnTo>
                    <a:pt x="2248" y="3566"/>
                  </a:lnTo>
                  <a:lnTo>
                    <a:pt x="2266" y="3531"/>
                  </a:lnTo>
                  <a:lnTo>
                    <a:pt x="2248" y="3531"/>
                  </a:lnTo>
                  <a:lnTo>
                    <a:pt x="2231" y="3513"/>
                  </a:lnTo>
                  <a:lnTo>
                    <a:pt x="2266" y="3478"/>
                  </a:lnTo>
                  <a:lnTo>
                    <a:pt x="2301" y="3443"/>
                  </a:lnTo>
                  <a:lnTo>
                    <a:pt x="2319" y="3443"/>
                  </a:lnTo>
                  <a:lnTo>
                    <a:pt x="2319" y="3408"/>
                  </a:lnTo>
                  <a:lnTo>
                    <a:pt x="2336" y="3373"/>
                  </a:lnTo>
                  <a:lnTo>
                    <a:pt x="2354" y="3355"/>
                  </a:lnTo>
                  <a:lnTo>
                    <a:pt x="2354" y="3320"/>
                  </a:lnTo>
                  <a:lnTo>
                    <a:pt x="2336" y="3302"/>
                  </a:lnTo>
                  <a:lnTo>
                    <a:pt x="2336" y="3285"/>
                  </a:lnTo>
                  <a:lnTo>
                    <a:pt x="2336" y="3250"/>
                  </a:lnTo>
                  <a:lnTo>
                    <a:pt x="2354" y="3232"/>
                  </a:lnTo>
                  <a:lnTo>
                    <a:pt x="2336" y="3197"/>
                  </a:lnTo>
                  <a:lnTo>
                    <a:pt x="2319" y="3179"/>
                  </a:lnTo>
                  <a:lnTo>
                    <a:pt x="2301" y="3162"/>
                  </a:lnTo>
                  <a:lnTo>
                    <a:pt x="2283" y="3127"/>
                  </a:lnTo>
                  <a:lnTo>
                    <a:pt x="2301" y="3092"/>
                  </a:lnTo>
                  <a:lnTo>
                    <a:pt x="2319" y="3056"/>
                  </a:lnTo>
                  <a:lnTo>
                    <a:pt x="2301" y="3021"/>
                  </a:lnTo>
                  <a:lnTo>
                    <a:pt x="2301" y="3004"/>
                  </a:lnTo>
                  <a:lnTo>
                    <a:pt x="2283" y="2986"/>
                  </a:lnTo>
                  <a:lnTo>
                    <a:pt x="2283" y="2951"/>
                  </a:lnTo>
                  <a:lnTo>
                    <a:pt x="2301" y="2934"/>
                  </a:lnTo>
                  <a:lnTo>
                    <a:pt x="2336" y="2916"/>
                  </a:lnTo>
                  <a:lnTo>
                    <a:pt x="2389" y="2916"/>
                  </a:lnTo>
                  <a:lnTo>
                    <a:pt x="2406" y="2881"/>
                  </a:lnTo>
                  <a:lnTo>
                    <a:pt x="2406" y="2863"/>
                  </a:lnTo>
                  <a:lnTo>
                    <a:pt x="2371" y="2863"/>
                  </a:lnTo>
                  <a:lnTo>
                    <a:pt x="2336" y="2863"/>
                  </a:lnTo>
                  <a:lnTo>
                    <a:pt x="2266" y="2846"/>
                  </a:lnTo>
                  <a:lnTo>
                    <a:pt x="2231" y="2846"/>
                  </a:lnTo>
                  <a:lnTo>
                    <a:pt x="2178" y="2846"/>
                  </a:lnTo>
                  <a:lnTo>
                    <a:pt x="2178" y="2723"/>
                  </a:lnTo>
                  <a:lnTo>
                    <a:pt x="2178" y="2688"/>
                  </a:lnTo>
                  <a:lnTo>
                    <a:pt x="2196" y="2670"/>
                  </a:lnTo>
                  <a:lnTo>
                    <a:pt x="2231" y="2635"/>
                  </a:lnTo>
                  <a:lnTo>
                    <a:pt x="2213" y="2582"/>
                  </a:lnTo>
                  <a:lnTo>
                    <a:pt x="2178" y="2547"/>
                  </a:lnTo>
                  <a:lnTo>
                    <a:pt x="2143" y="2512"/>
                  </a:lnTo>
                  <a:lnTo>
                    <a:pt x="2125" y="2459"/>
                  </a:lnTo>
                  <a:lnTo>
                    <a:pt x="2125" y="2424"/>
                  </a:lnTo>
                  <a:lnTo>
                    <a:pt x="2125" y="2371"/>
                  </a:lnTo>
                  <a:lnTo>
                    <a:pt x="2125" y="2354"/>
                  </a:lnTo>
                  <a:lnTo>
                    <a:pt x="2108" y="2354"/>
                  </a:lnTo>
                  <a:lnTo>
                    <a:pt x="2055" y="2336"/>
                  </a:lnTo>
                  <a:lnTo>
                    <a:pt x="2073" y="2301"/>
                  </a:lnTo>
                  <a:lnTo>
                    <a:pt x="2090" y="2284"/>
                  </a:lnTo>
                  <a:lnTo>
                    <a:pt x="2108" y="2266"/>
                  </a:lnTo>
                  <a:lnTo>
                    <a:pt x="2125" y="2249"/>
                  </a:lnTo>
                  <a:lnTo>
                    <a:pt x="2108" y="2108"/>
                  </a:lnTo>
                  <a:lnTo>
                    <a:pt x="2090" y="2003"/>
                  </a:lnTo>
                  <a:lnTo>
                    <a:pt x="2037" y="1880"/>
                  </a:lnTo>
                  <a:lnTo>
                    <a:pt x="1985" y="1774"/>
                  </a:lnTo>
                  <a:lnTo>
                    <a:pt x="2020" y="1757"/>
                  </a:lnTo>
                  <a:lnTo>
                    <a:pt x="2037" y="1722"/>
                  </a:lnTo>
                  <a:lnTo>
                    <a:pt x="2090" y="1669"/>
                  </a:lnTo>
                  <a:lnTo>
                    <a:pt x="2143" y="1669"/>
                  </a:lnTo>
                  <a:lnTo>
                    <a:pt x="2160" y="1669"/>
                  </a:lnTo>
                  <a:lnTo>
                    <a:pt x="2178" y="1634"/>
                  </a:lnTo>
                  <a:lnTo>
                    <a:pt x="2160" y="1599"/>
                  </a:lnTo>
                  <a:lnTo>
                    <a:pt x="2143" y="1581"/>
                  </a:lnTo>
                  <a:lnTo>
                    <a:pt x="2231" y="1388"/>
                  </a:lnTo>
                  <a:lnTo>
                    <a:pt x="2266" y="1370"/>
                  </a:lnTo>
                  <a:lnTo>
                    <a:pt x="2301" y="1335"/>
                  </a:lnTo>
                  <a:lnTo>
                    <a:pt x="2301" y="1318"/>
                  </a:lnTo>
                  <a:lnTo>
                    <a:pt x="2301" y="1283"/>
                  </a:lnTo>
                  <a:lnTo>
                    <a:pt x="2283" y="1265"/>
                  </a:lnTo>
                  <a:lnTo>
                    <a:pt x="2248" y="1247"/>
                  </a:lnTo>
                  <a:lnTo>
                    <a:pt x="2231" y="1212"/>
                  </a:lnTo>
                  <a:lnTo>
                    <a:pt x="2231" y="1177"/>
                  </a:lnTo>
                  <a:lnTo>
                    <a:pt x="2231" y="1142"/>
                  </a:lnTo>
                  <a:lnTo>
                    <a:pt x="2213" y="1124"/>
                  </a:lnTo>
                  <a:lnTo>
                    <a:pt x="2143" y="1054"/>
                  </a:lnTo>
                  <a:lnTo>
                    <a:pt x="2125" y="1037"/>
                  </a:lnTo>
                  <a:lnTo>
                    <a:pt x="2090" y="1001"/>
                  </a:lnTo>
                  <a:lnTo>
                    <a:pt x="2073" y="931"/>
                  </a:lnTo>
                  <a:lnTo>
                    <a:pt x="2055" y="914"/>
                  </a:lnTo>
                  <a:lnTo>
                    <a:pt x="2020" y="896"/>
                  </a:lnTo>
                  <a:lnTo>
                    <a:pt x="2055" y="826"/>
                  </a:lnTo>
                  <a:lnTo>
                    <a:pt x="2055" y="773"/>
                  </a:lnTo>
                  <a:lnTo>
                    <a:pt x="2037" y="773"/>
                  </a:lnTo>
                  <a:lnTo>
                    <a:pt x="2002" y="738"/>
                  </a:lnTo>
                  <a:lnTo>
                    <a:pt x="1967" y="756"/>
                  </a:lnTo>
                  <a:lnTo>
                    <a:pt x="1950" y="773"/>
                  </a:lnTo>
                  <a:lnTo>
                    <a:pt x="1950" y="791"/>
                  </a:lnTo>
                  <a:lnTo>
                    <a:pt x="1967" y="808"/>
                  </a:lnTo>
                  <a:lnTo>
                    <a:pt x="2002" y="843"/>
                  </a:lnTo>
                  <a:lnTo>
                    <a:pt x="2002" y="861"/>
                  </a:lnTo>
                  <a:lnTo>
                    <a:pt x="1950" y="931"/>
                  </a:lnTo>
                  <a:lnTo>
                    <a:pt x="1879" y="984"/>
                  </a:lnTo>
                  <a:lnTo>
                    <a:pt x="1827" y="1019"/>
                  </a:lnTo>
                  <a:lnTo>
                    <a:pt x="1774" y="1054"/>
                  </a:lnTo>
                  <a:lnTo>
                    <a:pt x="1792" y="1001"/>
                  </a:lnTo>
                  <a:lnTo>
                    <a:pt x="1827" y="931"/>
                  </a:lnTo>
                  <a:lnTo>
                    <a:pt x="1932" y="773"/>
                  </a:lnTo>
                  <a:lnTo>
                    <a:pt x="2037" y="598"/>
                  </a:lnTo>
                  <a:lnTo>
                    <a:pt x="2073" y="492"/>
                  </a:lnTo>
                  <a:lnTo>
                    <a:pt x="2073" y="404"/>
                  </a:lnTo>
                  <a:lnTo>
                    <a:pt x="2055" y="334"/>
                  </a:lnTo>
                  <a:lnTo>
                    <a:pt x="2002" y="246"/>
                  </a:lnTo>
                  <a:lnTo>
                    <a:pt x="1915" y="176"/>
                  </a:lnTo>
                  <a:lnTo>
                    <a:pt x="1879" y="158"/>
                  </a:lnTo>
                  <a:lnTo>
                    <a:pt x="1844" y="141"/>
                  </a:lnTo>
                  <a:lnTo>
                    <a:pt x="1774" y="158"/>
                  </a:lnTo>
                  <a:lnTo>
                    <a:pt x="1721" y="176"/>
                  </a:lnTo>
                  <a:lnTo>
                    <a:pt x="1704" y="211"/>
                  </a:lnTo>
                  <a:lnTo>
                    <a:pt x="1686" y="246"/>
                  </a:lnTo>
                  <a:lnTo>
                    <a:pt x="1633" y="246"/>
                  </a:lnTo>
                  <a:lnTo>
                    <a:pt x="1633" y="229"/>
                  </a:lnTo>
                  <a:lnTo>
                    <a:pt x="1633" y="211"/>
                  </a:lnTo>
                  <a:lnTo>
                    <a:pt x="1669" y="158"/>
                  </a:lnTo>
                  <a:lnTo>
                    <a:pt x="1669" y="141"/>
                  </a:lnTo>
                  <a:lnTo>
                    <a:pt x="1633" y="123"/>
                  </a:lnTo>
                  <a:lnTo>
                    <a:pt x="1598" y="106"/>
                  </a:lnTo>
                  <a:lnTo>
                    <a:pt x="1510" y="123"/>
                  </a:lnTo>
                  <a:lnTo>
                    <a:pt x="1510" y="106"/>
                  </a:lnTo>
                  <a:lnTo>
                    <a:pt x="1546" y="88"/>
                  </a:lnTo>
                  <a:lnTo>
                    <a:pt x="1563" y="53"/>
                  </a:lnTo>
                  <a:lnTo>
                    <a:pt x="1563" y="35"/>
                  </a:lnTo>
                  <a:lnTo>
                    <a:pt x="1546" y="18"/>
                  </a:lnTo>
                  <a:lnTo>
                    <a:pt x="1493" y="0"/>
                  </a:lnTo>
                  <a:lnTo>
                    <a:pt x="1458" y="0"/>
                  </a:lnTo>
                  <a:lnTo>
                    <a:pt x="1440" y="0"/>
                  </a:lnTo>
                  <a:lnTo>
                    <a:pt x="1440" y="18"/>
                  </a:lnTo>
                  <a:lnTo>
                    <a:pt x="1387" y="88"/>
                  </a:lnTo>
                  <a:lnTo>
                    <a:pt x="1335" y="176"/>
                  </a:lnTo>
                  <a:lnTo>
                    <a:pt x="1335" y="194"/>
                  </a:lnTo>
                  <a:lnTo>
                    <a:pt x="1335" y="211"/>
                  </a:lnTo>
                  <a:lnTo>
                    <a:pt x="1352" y="246"/>
                  </a:lnTo>
                  <a:lnTo>
                    <a:pt x="1352" y="281"/>
                  </a:lnTo>
                  <a:lnTo>
                    <a:pt x="1335" y="299"/>
                  </a:lnTo>
                  <a:lnTo>
                    <a:pt x="1300" y="316"/>
                  </a:lnTo>
                  <a:lnTo>
                    <a:pt x="1247" y="316"/>
                  </a:lnTo>
                  <a:lnTo>
                    <a:pt x="1247" y="334"/>
                  </a:lnTo>
                  <a:lnTo>
                    <a:pt x="1300" y="404"/>
                  </a:lnTo>
                  <a:lnTo>
                    <a:pt x="1247" y="387"/>
                  </a:lnTo>
                  <a:lnTo>
                    <a:pt x="1212" y="387"/>
                  </a:lnTo>
                  <a:lnTo>
                    <a:pt x="1177" y="422"/>
                  </a:lnTo>
                  <a:lnTo>
                    <a:pt x="1159" y="457"/>
                  </a:lnTo>
                  <a:lnTo>
                    <a:pt x="1124" y="475"/>
                  </a:lnTo>
                  <a:lnTo>
                    <a:pt x="1124" y="457"/>
                  </a:lnTo>
                  <a:lnTo>
                    <a:pt x="1142" y="422"/>
                  </a:lnTo>
                  <a:lnTo>
                    <a:pt x="1142" y="387"/>
                  </a:lnTo>
                  <a:lnTo>
                    <a:pt x="1124" y="387"/>
                  </a:lnTo>
                  <a:lnTo>
                    <a:pt x="1071" y="404"/>
                  </a:lnTo>
                  <a:lnTo>
                    <a:pt x="1036" y="422"/>
                  </a:lnTo>
                  <a:lnTo>
                    <a:pt x="983" y="439"/>
                  </a:lnTo>
                  <a:lnTo>
                    <a:pt x="931" y="439"/>
                  </a:lnTo>
                  <a:lnTo>
                    <a:pt x="948" y="457"/>
                  </a:lnTo>
                  <a:lnTo>
                    <a:pt x="948" y="492"/>
                  </a:lnTo>
                  <a:lnTo>
                    <a:pt x="966" y="492"/>
                  </a:lnTo>
                  <a:lnTo>
                    <a:pt x="948" y="510"/>
                  </a:lnTo>
                  <a:lnTo>
                    <a:pt x="878" y="527"/>
                  </a:lnTo>
                  <a:lnTo>
                    <a:pt x="825" y="545"/>
                  </a:lnTo>
                  <a:lnTo>
                    <a:pt x="773" y="580"/>
                  </a:lnTo>
                  <a:lnTo>
                    <a:pt x="667" y="668"/>
                  </a:lnTo>
                  <a:lnTo>
                    <a:pt x="597" y="773"/>
                  </a:lnTo>
                  <a:lnTo>
                    <a:pt x="579" y="791"/>
                  </a:lnTo>
                  <a:lnTo>
                    <a:pt x="597" y="843"/>
                  </a:lnTo>
                  <a:lnTo>
                    <a:pt x="614" y="931"/>
                  </a:lnTo>
                  <a:lnTo>
                    <a:pt x="632" y="984"/>
                  </a:lnTo>
                  <a:lnTo>
                    <a:pt x="614" y="984"/>
                  </a:lnTo>
                  <a:lnTo>
                    <a:pt x="579" y="949"/>
                  </a:lnTo>
                  <a:lnTo>
                    <a:pt x="404" y="966"/>
                  </a:lnTo>
                  <a:lnTo>
                    <a:pt x="281" y="966"/>
                  </a:lnTo>
                  <a:lnTo>
                    <a:pt x="210" y="966"/>
                  </a:lnTo>
                  <a:lnTo>
                    <a:pt x="175" y="1001"/>
                  </a:lnTo>
                  <a:lnTo>
                    <a:pt x="175" y="1054"/>
                  </a:lnTo>
                  <a:lnTo>
                    <a:pt x="210" y="1124"/>
                  </a:lnTo>
                  <a:lnTo>
                    <a:pt x="210" y="1160"/>
                  </a:lnTo>
                  <a:lnTo>
                    <a:pt x="193" y="1195"/>
                  </a:lnTo>
                  <a:lnTo>
                    <a:pt x="210" y="1247"/>
                  </a:lnTo>
                  <a:lnTo>
                    <a:pt x="210" y="1265"/>
                  </a:lnTo>
                  <a:lnTo>
                    <a:pt x="246" y="1283"/>
                  </a:lnTo>
                  <a:lnTo>
                    <a:pt x="263" y="1283"/>
                  </a:lnTo>
                  <a:lnTo>
                    <a:pt x="281" y="1318"/>
                  </a:lnTo>
                  <a:lnTo>
                    <a:pt x="298" y="1353"/>
                  </a:lnTo>
                  <a:lnTo>
                    <a:pt x="298" y="1370"/>
                  </a:lnTo>
                  <a:lnTo>
                    <a:pt x="316" y="1353"/>
                  </a:lnTo>
                  <a:lnTo>
                    <a:pt x="351" y="1405"/>
                  </a:lnTo>
                  <a:lnTo>
                    <a:pt x="351" y="1441"/>
                  </a:lnTo>
                  <a:lnTo>
                    <a:pt x="351" y="1476"/>
                  </a:lnTo>
                  <a:lnTo>
                    <a:pt x="316" y="1528"/>
                  </a:lnTo>
                  <a:lnTo>
                    <a:pt x="333" y="1599"/>
                  </a:lnTo>
                  <a:lnTo>
                    <a:pt x="351" y="1651"/>
                  </a:lnTo>
                  <a:lnTo>
                    <a:pt x="351" y="1686"/>
                  </a:lnTo>
                  <a:lnTo>
                    <a:pt x="316" y="1739"/>
                  </a:lnTo>
                  <a:lnTo>
                    <a:pt x="298" y="1757"/>
                  </a:lnTo>
                  <a:lnTo>
                    <a:pt x="281" y="1757"/>
                  </a:lnTo>
                  <a:lnTo>
                    <a:pt x="263" y="1739"/>
                  </a:lnTo>
                  <a:lnTo>
                    <a:pt x="298" y="1616"/>
                  </a:lnTo>
                  <a:lnTo>
                    <a:pt x="298" y="1599"/>
                  </a:lnTo>
                  <a:lnTo>
                    <a:pt x="298" y="1581"/>
                  </a:lnTo>
                  <a:lnTo>
                    <a:pt x="281" y="1581"/>
                  </a:lnTo>
                  <a:lnTo>
                    <a:pt x="263" y="1599"/>
                  </a:lnTo>
                  <a:lnTo>
                    <a:pt x="228" y="1686"/>
                  </a:lnTo>
                  <a:lnTo>
                    <a:pt x="246" y="1599"/>
                  </a:lnTo>
                  <a:lnTo>
                    <a:pt x="281" y="1493"/>
                  </a:lnTo>
                  <a:lnTo>
                    <a:pt x="316" y="1405"/>
                  </a:lnTo>
                  <a:lnTo>
                    <a:pt x="316" y="1388"/>
                  </a:lnTo>
                  <a:lnTo>
                    <a:pt x="298" y="1388"/>
                  </a:lnTo>
                  <a:lnTo>
                    <a:pt x="246" y="1405"/>
                  </a:lnTo>
                  <a:lnTo>
                    <a:pt x="228" y="1388"/>
                  </a:lnTo>
                  <a:lnTo>
                    <a:pt x="210" y="1370"/>
                  </a:lnTo>
                  <a:lnTo>
                    <a:pt x="175" y="1318"/>
                  </a:lnTo>
                  <a:lnTo>
                    <a:pt x="158" y="1300"/>
                  </a:lnTo>
                  <a:lnTo>
                    <a:pt x="70" y="1212"/>
                  </a:lnTo>
                  <a:lnTo>
                    <a:pt x="52" y="1230"/>
                  </a:lnTo>
                  <a:lnTo>
                    <a:pt x="52" y="1247"/>
                  </a:lnTo>
                  <a:lnTo>
                    <a:pt x="52" y="1265"/>
                  </a:lnTo>
                  <a:lnTo>
                    <a:pt x="52" y="1300"/>
                  </a:lnTo>
                  <a:lnTo>
                    <a:pt x="87" y="1300"/>
                  </a:lnTo>
                  <a:lnTo>
                    <a:pt x="123" y="1318"/>
                  </a:lnTo>
                  <a:lnTo>
                    <a:pt x="140" y="1353"/>
                  </a:lnTo>
                  <a:lnTo>
                    <a:pt x="140" y="1405"/>
                  </a:lnTo>
                  <a:lnTo>
                    <a:pt x="105" y="1423"/>
                  </a:lnTo>
                  <a:lnTo>
                    <a:pt x="87" y="1441"/>
                  </a:lnTo>
                  <a:lnTo>
                    <a:pt x="70" y="1458"/>
                  </a:lnTo>
                  <a:lnTo>
                    <a:pt x="87" y="1493"/>
                  </a:lnTo>
                  <a:lnTo>
                    <a:pt x="105" y="1528"/>
                  </a:lnTo>
                  <a:lnTo>
                    <a:pt x="140" y="1564"/>
                  </a:lnTo>
                  <a:lnTo>
                    <a:pt x="140" y="1616"/>
                  </a:lnTo>
                  <a:lnTo>
                    <a:pt x="140" y="1651"/>
                  </a:lnTo>
                  <a:lnTo>
                    <a:pt x="123" y="1686"/>
                  </a:lnTo>
                  <a:lnTo>
                    <a:pt x="70" y="1704"/>
                  </a:lnTo>
                  <a:lnTo>
                    <a:pt x="17" y="1739"/>
                  </a:lnTo>
                  <a:lnTo>
                    <a:pt x="0" y="1774"/>
                  </a:lnTo>
                  <a:lnTo>
                    <a:pt x="0" y="1809"/>
                  </a:lnTo>
                  <a:lnTo>
                    <a:pt x="17" y="1862"/>
                  </a:lnTo>
                  <a:lnTo>
                    <a:pt x="52" y="1897"/>
                  </a:lnTo>
                  <a:lnTo>
                    <a:pt x="105" y="1932"/>
                  </a:lnTo>
                  <a:lnTo>
                    <a:pt x="140" y="1950"/>
                  </a:lnTo>
                  <a:lnTo>
                    <a:pt x="175" y="1950"/>
                  </a:lnTo>
                  <a:lnTo>
                    <a:pt x="228" y="1985"/>
                  </a:lnTo>
                  <a:lnTo>
                    <a:pt x="246" y="2003"/>
                  </a:lnTo>
                  <a:lnTo>
                    <a:pt x="246" y="2038"/>
                  </a:lnTo>
                  <a:lnTo>
                    <a:pt x="246" y="2073"/>
                  </a:lnTo>
                  <a:lnTo>
                    <a:pt x="228" y="2108"/>
                  </a:lnTo>
                  <a:lnTo>
                    <a:pt x="228" y="2126"/>
                  </a:lnTo>
                  <a:lnTo>
                    <a:pt x="228" y="2143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9"/>
            <p:cNvSpPr>
              <a:spLocks/>
            </p:cNvSpPr>
            <p:nvPr/>
          </p:nvSpPr>
          <p:spPr bwMode="auto">
            <a:xfrm>
              <a:off x="7643067" y="3264920"/>
              <a:ext cx="1246390" cy="2086864"/>
            </a:xfrm>
            <a:custGeom>
              <a:avLst/>
              <a:gdLst>
                <a:gd name="T0" fmla="*/ 984 w 2056"/>
                <a:gd name="T1" fmla="*/ 3108 h 3442"/>
                <a:gd name="T2" fmla="*/ 844 w 2056"/>
                <a:gd name="T3" fmla="*/ 2985 h 3442"/>
                <a:gd name="T4" fmla="*/ 756 w 2056"/>
                <a:gd name="T5" fmla="*/ 2863 h 3442"/>
                <a:gd name="T6" fmla="*/ 756 w 2056"/>
                <a:gd name="T7" fmla="*/ 2704 h 3442"/>
                <a:gd name="T8" fmla="*/ 826 w 2056"/>
                <a:gd name="T9" fmla="*/ 2546 h 3442"/>
                <a:gd name="T10" fmla="*/ 808 w 2056"/>
                <a:gd name="T11" fmla="*/ 2459 h 3442"/>
                <a:gd name="T12" fmla="*/ 896 w 2056"/>
                <a:gd name="T13" fmla="*/ 2388 h 3442"/>
                <a:gd name="T14" fmla="*/ 896 w 2056"/>
                <a:gd name="T15" fmla="*/ 2195 h 3442"/>
                <a:gd name="T16" fmla="*/ 756 w 2056"/>
                <a:gd name="T17" fmla="*/ 2248 h 3442"/>
                <a:gd name="T18" fmla="*/ 668 w 2056"/>
                <a:gd name="T19" fmla="*/ 2371 h 3442"/>
                <a:gd name="T20" fmla="*/ 545 w 2056"/>
                <a:gd name="T21" fmla="*/ 2406 h 3442"/>
                <a:gd name="T22" fmla="*/ 387 w 2056"/>
                <a:gd name="T23" fmla="*/ 2388 h 3442"/>
                <a:gd name="T24" fmla="*/ 387 w 2056"/>
                <a:gd name="T25" fmla="*/ 2213 h 3442"/>
                <a:gd name="T26" fmla="*/ 457 w 2056"/>
                <a:gd name="T27" fmla="*/ 2019 h 3442"/>
                <a:gd name="T28" fmla="*/ 264 w 2056"/>
                <a:gd name="T29" fmla="*/ 2055 h 3442"/>
                <a:gd name="T30" fmla="*/ 211 w 2056"/>
                <a:gd name="T31" fmla="*/ 1826 h 3442"/>
                <a:gd name="T32" fmla="*/ 106 w 2056"/>
                <a:gd name="T33" fmla="*/ 1738 h 3442"/>
                <a:gd name="T34" fmla="*/ 0 w 2056"/>
                <a:gd name="T35" fmla="*/ 1598 h 3442"/>
                <a:gd name="T36" fmla="*/ 35 w 2056"/>
                <a:gd name="T37" fmla="*/ 1387 h 3442"/>
                <a:gd name="T38" fmla="*/ 194 w 2056"/>
                <a:gd name="T39" fmla="*/ 1124 h 3442"/>
                <a:gd name="T40" fmla="*/ 334 w 2056"/>
                <a:gd name="T41" fmla="*/ 1018 h 3442"/>
                <a:gd name="T42" fmla="*/ 369 w 2056"/>
                <a:gd name="T43" fmla="*/ 860 h 3442"/>
                <a:gd name="T44" fmla="*/ 211 w 2056"/>
                <a:gd name="T45" fmla="*/ 614 h 3442"/>
                <a:gd name="T46" fmla="*/ 194 w 2056"/>
                <a:gd name="T47" fmla="*/ 316 h 3442"/>
                <a:gd name="T48" fmla="*/ 334 w 2056"/>
                <a:gd name="T49" fmla="*/ 263 h 3442"/>
                <a:gd name="T50" fmla="*/ 510 w 2056"/>
                <a:gd name="T51" fmla="*/ 158 h 3442"/>
                <a:gd name="T52" fmla="*/ 580 w 2056"/>
                <a:gd name="T53" fmla="*/ 70 h 3442"/>
                <a:gd name="T54" fmla="*/ 826 w 2056"/>
                <a:gd name="T55" fmla="*/ 87 h 3442"/>
                <a:gd name="T56" fmla="*/ 879 w 2056"/>
                <a:gd name="T57" fmla="*/ 263 h 3442"/>
                <a:gd name="T58" fmla="*/ 984 w 2056"/>
                <a:gd name="T59" fmla="*/ 245 h 3442"/>
                <a:gd name="T60" fmla="*/ 1090 w 2056"/>
                <a:gd name="T61" fmla="*/ 316 h 3442"/>
                <a:gd name="T62" fmla="*/ 949 w 2056"/>
                <a:gd name="T63" fmla="*/ 456 h 3442"/>
                <a:gd name="T64" fmla="*/ 773 w 2056"/>
                <a:gd name="T65" fmla="*/ 702 h 3442"/>
                <a:gd name="T66" fmla="*/ 791 w 2056"/>
                <a:gd name="T67" fmla="*/ 1387 h 3442"/>
                <a:gd name="T68" fmla="*/ 738 w 2056"/>
                <a:gd name="T69" fmla="*/ 1914 h 3442"/>
                <a:gd name="T70" fmla="*/ 967 w 2056"/>
                <a:gd name="T71" fmla="*/ 1914 h 3442"/>
                <a:gd name="T72" fmla="*/ 1019 w 2056"/>
                <a:gd name="T73" fmla="*/ 1861 h 3442"/>
                <a:gd name="T74" fmla="*/ 1125 w 2056"/>
                <a:gd name="T75" fmla="*/ 1932 h 3442"/>
                <a:gd name="T76" fmla="*/ 1142 w 2056"/>
                <a:gd name="T77" fmla="*/ 1721 h 3442"/>
                <a:gd name="T78" fmla="*/ 1406 w 2056"/>
                <a:gd name="T79" fmla="*/ 1686 h 3442"/>
                <a:gd name="T80" fmla="*/ 1511 w 2056"/>
                <a:gd name="T81" fmla="*/ 1774 h 3442"/>
                <a:gd name="T82" fmla="*/ 1810 w 2056"/>
                <a:gd name="T83" fmla="*/ 2195 h 3442"/>
                <a:gd name="T84" fmla="*/ 2038 w 2056"/>
                <a:gd name="T85" fmla="*/ 2722 h 3442"/>
                <a:gd name="T86" fmla="*/ 1986 w 2056"/>
                <a:gd name="T87" fmla="*/ 2775 h 3442"/>
                <a:gd name="T88" fmla="*/ 1792 w 2056"/>
                <a:gd name="T89" fmla="*/ 2845 h 3442"/>
                <a:gd name="T90" fmla="*/ 1933 w 2056"/>
                <a:gd name="T91" fmla="*/ 2968 h 3442"/>
                <a:gd name="T92" fmla="*/ 1898 w 2056"/>
                <a:gd name="T93" fmla="*/ 3091 h 3442"/>
                <a:gd name="T94" fmla="*/ 1687 w 2056"/>
                <a:gd name="T95" fmla="*/ 3196 h 3442"/>
                <a:gd name="T96" fmla="*/ 1652 w 2056"/>
                <a:gd name="T97" fmla="*/ 3354 h 3442"/>
                <a:gd name="T98" fmla="*/ 1599 w 2056"/>
                <a:gd name="T99" fmla="*/ 3372 h 3442"/>
                <a:gd name="T100" fmla="*/ 1476 w 2056"/>
                <a:gd name="T101" fmla="*/ 3056 h 3442"/>
                <a:gd name="T102" fmla="*/ 1318 w 2056"/>
                <a:gd name="T103" fmla="*/ 3266 h 3442"/>
                <a:gd name="T104" fmla="*/ 1072 w 2056"/>
                <a:gd name="T105" fmla="*/ 3407 h 3442"/>
                <a:gd name="T106" fmla="*/ 984 w 2056"/>
                <a:gd name="T107" fmla="*/ 3214 h 3442"/>
                <a:gd name="T108" fmla="*/ 1019 w 2056"/>
                <a:gd name="T109" fmla="*/ 3126 h 344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056"/>
                <a:gd name="T166" fmla="*/ 0 h 3442"/>
                <a:gd name="T167" fmla="*/ 2056 w 2056"/>
                <a:gd name="T168" fmla="*/ 3442 h 344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056" h="3442">
                  <a:moveTo>
                    <a:pt x="1019" y="3126"/>
                  </a:moveTo>
                  <a:lnTo>
                    <a:pt x="1019" y="3126"/>
                  </a:lnTo>
                  <a:lnTo>
                    <a:pt x="1002" y="3108"/>
                  </a:lnTo>
                  <a:lnTo>
                    <a:pt x="984" y="3108"/>
                  </a:lnTo>
                  <a:lnTo>
                    <a:pt x="949" y="3056"/>
                  </a:lnTo>
                  <a:lnTo>
                    <a:pt x="914" y="3003"/>
                  </a:lnTo>
                  <a:lnTo>
                    <a:pt x="896" y="2985"/>
                  </a:lnTo>
                  <a:lnTo>
                    <a:pt x="879" y="2985"/>
                  </a:lnTo>
                  <a:lnTo>
                    <a:pt x="844" y="2985"/>
                  </a:lnTo>
                  <a:lnTo>
                    <a:pt x="826" y="2968"/>
                  </a:lnTo>
                  <a:lnTo>
                    <a:pt x="808" y="2950"/>
                  </a:lnTo>
                  <a:lnTo>
                    <a:pt x="773" y="2950"/>
                  </a:lnTo>
                  <a:lnTo>
                    <a:pt x="756" y="2933"/>
                  </a:lnTo>
                  <a:lnTo>
                    <a:pt x="756" y="2863"/>
                  </a:lnTo>
                  <a:lnTo>
                    <a:pt x="756" y="2810"/>
                  </a:lnTo>
                  <a:lnTo>
                    <a:pt x="773" y="2775"/>
                  </a:lnTo>
                  <a:lnTo>
                    <a:pt x="756" y="2757"/>
                  </a:lnTo>
                  <a:lnTo>
                    <a:pt x="738" y="2722"/>
                  </a:lnTo>
                  <a:lnTo>
                    <a:pt x="756" y="2704"/>
                  </a:lnTo>
                  <a:lnTo>
                    <a:pt x="773" y="2669"/>
                  </a:lnTo>
                  <a:lnTo>
                    <a:pt x="808" y="2652"/>
                  </a:lnTo>
                  <a:lnTo>
                    <a:pt x="808" y="2617"/>
                  </a:lnTo>
                  <a:lnTo>
                    <a:pt x="808" y="2582"/>
                  </a:lnTo>
                  <a:lnTo>
                    <a:pt x="826" y="2546"/>
                  </a:lnTo>
                  <a:lnTo>
                    <a:pt x="844" y="2529"/>
                  </a:lnTo>
                  <a:lnTo>
                    <a:pt x="861" y="2511"/>
                  </a:lnTo>
                  <a:lnTo>
                    <a:pt x="861" y="2494"/>
                  </a:lnTo>
                  <a:lnTo>
                    <a:pt x="861" y="2476"/>
                  </a:lnTo>
                  <a:lnTo>
                    <a:pt x="826" y="2459"/>
                  </a:lnTo>
                  <a:lnTo>
                    <a:pt x="808" y="2459"/>
                  </a:lnTo>
                  <a:lnTo>
                    <a:pt x="808" y="2423"/>
                  </a:lnTo>
                  <a:lnTo>
                    <a:pt x="826" y="2388"/>
                  </a:lnTo>
                  <a:lnTo>
                    <a:pt x="896" y="2388"/>
                  </a:lnTo>
                  <a:lnTo>
                    <a:pt x="949" y="2371"/>
                  </a:lnTo>
                  <a:lnTo>
                    <a:pt x="967" y="2371"/>
                  </a:lnTo>
                  <a:lnTo>
                    <a:pt x="967" y="2353"/>
                  </a:lnTo>
                  <a:lnTo>
                    <a:pt x="949" y="2300"/>
                  </a:lnTo>
                  <a:lnTo>
                    <a:pt x="931" y="2248"/>
                  </a:lnTo>
                  <a:lnTo>
                    <a:pt x="896" y="2195"/>
                  </a:lnTo>
                  <a:lnTo>
                    <a:pt x="861" y="2160"/>
                  </a:lnTo>
                  <a:lnTo>
                    <a:pt x="844" y="2178"/>
                  </a:lnTo>
                  <a:lnTo>
                    <a:pt x="826" y="2195"/>
                  </a:lnTo>
                  <a:lnTo>
                    <a:pt x="791" y="2230"/>
                  </a:lnTo>
                  <a:lnTo>
                    <a:pt x="756" y="2248"/>
                  </a:lnTo>
                  <a:lnTo>
                    <a:pt x="738" y="2265"/>
                  </a:lnTo>
                  <a:lnTo>
                    <a:pt x="721" y="2318"/>
                  </a:lnTo>
                  <a:lnTo>
                    <a:pt x="703" y="2336"/>
                  </a:lnTo>
                  <a:lnTo>
                    <a:pt x="685" y="2371"/>
                  </a:lnTo>
                  <a:lnTo>
                    <a:pt x="668" y="2371"/>
                  </a:lnTo>
                  <a:lnTo>
                    <a:pt x="633" y="2388"/>
                  </a:lnTo>
                  <a:lnTo>
                    <a:pt x="615" y="2423"/>
                  </a:lnTo>
                  <a:lnTo>
                    <a:pt x="598" y="2423"/>
                  </a:lnTo>
                  <a:lnTo>
                    <a:pt x="563" y="2423"/>
                  </a:lnTo>
                  <a:lnTo>
                    <a:pt x="545" y="2406"/>
                  </a:lnTo>
                  <a:lnTo>
                    <a:pt x="510" y="2371"/>
                  </a:lnTo>
                  <a:lnTo>
                    <a:pt x="492" y="2371"/>
                  </a:lnTo>
                  <a:lnTo>
                    <a:pt x="457" y="2388"/>
                  </a:lnTo>
                  <a:lnTo>
                    <a:pt x="422" y="2388"/>
                  </a:lnTo>
                  <a:lnTo>
                    <a:pt x="387" y="2388"/>
                  </a:lnTo>
                  <a:lnTo>
                    <a:pt x="369" y="2353"/>
                  </a:lnTo>
                  <a:lnTo>
                    <a:pt x="387" y="2318"/>
                  </a:lnTo>
                  <a:lnTo>
                    <a:pt x="404" y="2265"/>
                  </a:lnTo>
                  <a:lnTo>
                    <a:pt x="404" y="2248"/>
                  </a:lnTo>
                  <a:lnTo>
                    <a:pt x="387" y="2213"/>
                  </a:lnTo>
                  <a:lnTo>
                    <a:pt x="404" y="2195"/>
                  </a:lnTo>
                  <a:lnTo>
                    <a:pt x="422" y="2178"/>
                  </a:lnTo>
                  <a:lnTo>
                    <a:pt x="440" y="2107"/>
                  </a:lnTo>
                  <a:lnTo>
                    <a:pt x="457" y="2019"/>
                  </a:lnTo>
                  <a:lnTo>
                    <a:pt x="440" y="1984"/>
                  </a:lnTo>
                  <a:lnTo>
                    <a:pt x="387" y="1967"/>
                  </a:lnTo>
                  <a:lnTo>
                    <a:pt x="352" y="1967"/>
                  </a:lnTo>
                  <a:lnTo>
                    <a:pt x="317" y="1984"/>
                  </a:lnTo>
                  <a:lnTo>
                    <a:pt x="264" y="2055"/>
                  </a:lnTo>
                  <a:lnTo>
                    <a:pt x="229" y="2055"/>
                  </a:lnTo>
                  <a:lnTo>
                    <a:pt x="211" y="1949"/>
                  </a:lnTo>
                  <a:lnTo>
                    <a:pt x="211" y="1844"/>
                  </a:lnTo>
                  <a:lnTo>
                    <a:pt x="211" y="1826"/>
                  </a:lnTo>
                  <a:lnTo>
                    <a:pt x="194" y="1809"/>
                  </a:lnTo>
                  <a:lnTo>
                    <a:pt x="158" y="1791"/>
                  </a:lnTo>
                  <a:lnTo>
                    <a:pt x="106" y="1774"/>
                  </a:lnTo>
                  <a:lnTo>
                    <a:pt x="88" y="1774"/>
                  </a:lnTo>
                  <a:lnTo>
                    <a:pt x="88" y="1756"/>
                  </a:lnTo>
                  <a:lnTo>
                    <a:pt x="106" y="1738"/>
                  </a:lnTo>
                  <a:lnTo>
                    <a:pt x="123" y="1703"/>
                  </a:lnTo>
                  <a:lnTo>
                    <a:pt x="123" y="1633"/>
                  </a:lnTo>
                  <a:lnTo>
                    <a:pt x="53" y="1615"/>
                  </a:lnTo>
                  <a:lnTo>
                    <a:pt x="0" y="1598"/>
                  </a:lnTo>
                  <a:lnTo>
                    <a:pt x="35" y="1563"/>
                  </a:lnTo>
                  <a:lnTo>
                    <a:pt x="53" y="1545"/>
                  </a:lnTo>
                  <a:lnTo>
                    <a:pt x="53" y="1528"/>
                  </a:lnTo>
                  <a:lnTo>
                    <a:pt x="53" y="1457"/>
                  </a:lnTo>
                  <a:lnTo>
                    <a:pt x="35" y="1387"/>
                  </a:lnTo>
                  <a:lnTo>
                    <a:pt x="35" y="1317"/>
                  </a:lnTo>
                  <a:lnTo>
                    <a:pt x="53" y="1282"/>
                  </a:lnTo>
                  <a:lnTo>
                    <a:pt x="123" y="1247"/>
                  </a:lnTo>
                  <a:lnTo>
                    <a:pt x="176" y="1212"/>
                  </a:lnTo>
                  <a:lnTo>
                    <a:pt x="194" y="1176"/>
                  </a:lnTo>
                  <a:lnTo>
                    <a:pt x="194" y="1124"/>
                  </a:lnTo>
                  <a:lnTo>
                    <a:pt x="211" y="1089"/>
                  </a:lnTo>
                  <a:lnTo>
                    <a:pt x="229" y="1089"/>
                  </a:lnTo>
                  <a:lnTo>
                    <a:pt x="299" y="1071"/>
                  </a:lnTo>
                  <a:lnTo>
                    <a:pt x="317" y="1053"/>
                  </a:lnTo>
                  <a:lnTo>
                    <a:pt x="334" y="1018"/>
                  </a:lnTo>
                  <a:lnTo>
                    <a:pt x="334" y="948"/>
                  </a:lnTo>
                  <a:lnTo>
                    <a:pt x="334" y="930"/>
                  </a:lnTo>
                  <a:lnTo>
                    <a:pt x="352" y="930"/>
                  </a:lnTo>
                  <a:lnTo>
                    <a:pt x="369" y="913"/>
                  </a:lnTo>
                  <a:lnTo>
                    <a:pt x="369" y="860"/>
                  </a:lnTo>
                  <a:lnTo>
                    <a:pt x="352" y="825"/>
                  </a:lnTo>
                  <a:lnTo>
                    <a:pt x="299" y="772"/>
                  </a:lnTo>
                  <a:lnTo>
                    <a:pt x="229" y="720"/>
                  </a:lnTo>
                  <a:lnTo>
                    <a:pt x="211" y="685"/>
                  </a:lnTo>
                  <a:lnTo>
                    <a:pt x="211" y="649"/>
                  </a:lnTo>
                  <a:lnTo>
                    <a:pt x="211" y="614"/>
                  </a:lnTo>
                  <a:lnTo>
                    <a:pt x="229" y="562"/>
                  </a:lnTo>
                  <a:lnTo>
                    <a:pt x="246" y="509"/>
                  </a:lnTo>
                  <a:lnTo>
                    <a:pt x="229" y="456"/>
                  </a:lnTo>
                  <a:lnTo>
                    <a:pt x="211" y="404"/>
                  </a:lnTo>
                  <a:lnTo>
                    <a:pt x="194" y="316"/>
                  </a:lnTo>
                  <a:lnTo>
                    <a:pt x="194" y="281"/>
                  </a:lnTo>
                  <a:lnTo>
                    <a:pt x="211" y="281"/>
                  </a:lnTo>
                  <a:lnTo>
                    <a:pt x="264" y="263"/>
                  </a:lnTo>
                  <a:lnTo>
                    <a:pt x="334" y="263"/>
                  </a:lnTo>
                  <a:lnTo>
                    <a:pt x="352" y="281"/>
                  </a:lnTo>
                  <a:lnTo>
                    <a:pt x="404" y="263"/>
                  </a:lnTo>
                  <a:lnTo>
                    <a:pt x="422" y="245"/>
                  </a:lnTo>
                  <a:lnTo>
                    <a:pt x="440" y="210"/>
                  </a:lnTo>
                  <a:lnTo>
                    <a:pt x="475" y="175"/>
                  </a:lnTo>
                  <a:lnTo>
                    <a:pt x="510" y="158"/>
                  </a:lnTo>
                  <a:lnTo>
                    <a:pt x="545" y="175"/>
                  </a:lnTo>
                  <a:lnTo>
                    <a:pt x="563" y="158"/>
                  </a:lnTo>
                  <a:lnTo>
                    <a:pt x="580" y="140"/>
                  </a:lnTo>
                  <a:lnTo>
                    <a:pt x="580" y="123"/>
                  </a:lnTo>
                  <a:lnTo>
                    <a:pt x="580" y="70"/>
                  </a:lnTo>
                  <a:lnTo>
                    <a:pt x="615" y="35"/>
                  </a:lnTo>
                  <a:lnTo>
                    <a:pt x="650" y="0"/>
                  </a:lnTo>
                  <a:lnTo>
                    <a:pt x="721" y="17"/>
                  </a:lnTo>
                  <a:lnTo>
                    <a:pt x="773" y="52"/>
                  </a:lnTo>
                  <a:lnTo>
                    <a:pt x="826" y="87"/>
                  </a:lnTo>
                  <a:lnTo>
                    <a:pt x="844" y="158"/>
                  </a:lnTo>
                  <a:lnTo>
                    <a:pt x="826" y="175"/>
                  </a:lnTo>
                  <a:lnTo>
                    <a:pt x="826" y="210"/>
                  </a:lnTo>
                  <a:lnTo>
                    <a:pt x="844" y="245"/>
                  </a:lnTo>
                  <a:lnTo>
                    <a:pt x="879" y="263"/>
                  </a:lnTo>
                  <a:lnTo>
                    <a:pt x="896" y="263"/>
                  </a:lnTo>
                  <a:lnTo>
                    <a:pt x="914" y="245"/>
                  </a:lnTo>
                  <a:lnTo>
                    <a:pt x="931" y="228"/>
                  </a:lnTo>
                  <a:lnTo>
                    <a:pt x="984" y="245"/>
                  </a:lnTo>
                  <a:lnTo>
                    <a:pt x="1037" y="245"/>
                  </a:lnTo>
                  <a:lnTo>
                    <a:pt x="1054" y="245"/>
                  </a:lnTo>
                  <a:lnTo>
                    <a:pt x="1054" y="281"/>
                  </a:lnTo>
                  <a:lnTo>
                    <a:pt x="1072" y="298"/>
                  </a:lnTo>
                  <a:lnTo>
                    <a:pt x="1090" y="316"/>
                  </a:lnTo>
                  <a:lnTo>
                    <a:pt x="1054" y="351"/>
                  </a:lnTo>
                  <a:lnTo>
                    <a:pt x="1054" y="386"/>
                  </a:lnTo>
                  <a:lnTo>
                    <a:pt x="1072" y="404"/>
                  </a:lnTo>
                  <a:lnTo>
                    <a:pt x="1002" y="421"/>
                  </a:lnTo>
                  <a:lnTo>
                    <a:pt x="949" y="456"/>
                  </a:lnTo>
                  <a:lnTo>
                    <a:pt x="914" y="509"/>
                  </a:lnTo>
                  <a:lnTo>
                    <a:pt x="879" y="562"/>
                  </a:lnTo>
                  <a:lnTo>
                    <a:pt x="826" y="597"/>
                  </a:lnTo>
                  <a:lnTo>
                    <a:pt x="791" y="632"/>
                  </a:lnTo>
                  <a:lnTo>
                    <a:pt x="773" y="702"/>
                  </a:lnTo>
                  <a:lnTo>
                    <a:pt x="791" y="843"/>
                  </a:lnTo>
                  <a:lnTo>
                    <a:pt x="791" y="966"/>
                  </a:lnTo>
                  <a:lnTo>
                    <a:pt x="808" y="1071"/>
                  </a:lnTo>
                  <a:lnTo>
                    <a:pt x="773" y="1176"/>
                  </a:lnTo>
                  <a:lnTo>
                    <a:pt x="791" y="1282"/>
                  </a:lnTo>
                  <a:lnTo>
                    <a:pt x="791" y="1387"/>
                  </a:lnTo>
                  <a:lnTo>
                    <a:pt x="791" y="1528"/>
                  </a:lnTo>
                  <a:lnTo>
                    <a:pt x="773" y="1651"/>
                  </a:lnTo>
                  <a:lnTo>
                    <a:pt x="738" y="1791"/>
                  </a:lnTo>
                  <a:lnTo>
                    <a:pt x="721" y="1844"/>
                  </a:lnTo>
                  <a:lnTo>
                    <a:pt x="721" y="1879"/>
                  </a:lnTo>
                  <a:lnTo>
                    <a:pt x="738" y="1914"/>
                  </a:lnTo>
                  <a:lnTo>
                    <a:pt x="773" y="1914"/>
                  </a:lnTo>
                  <a:lnTo>
                    <a:pt x="844" y="1861"/>
                  </a:lnTo>
                  <a:lnTo>
                    <a:pt x="896" y="1826"/>
                  </a:lnTo>
                  <a:lnTo>
                    <a:pt x="931" y="1826"/>
                  </a:lnTo>
                  <a:lnTo>
                    <a:pt x="949" y="1844"/>
                  </a:lnTo>
                  <a:lnTo>
                    <a:pt x="967" y="1914"/>
                  </a:lnTo>
                  <a:lnTo>
                    <a:pt x="984" y="1949"/>
                  </a:lnTo>
                  <a:lnTo>
                    <a:pt x="1002" y="1967"/>
                  </a:lnTo>
                  <a:lnTo>
                    <a:pt x="1019" y="1949"/>
                  </a:lnTo>
                  <a:lnTo>
                    <a:pt x="1019" y="1914"/>
                  </a:lnTo>
                  <a:lnTo>
                    <a:pt x="1002" y="1879"/>
                  </a:lnTo>
                  <a:lnTo>
                    <a:pt x="1019" y="1861"/>
                  </a:lnTo>
                  <a:lnTo>
                    <a:pt x="1019" y="1844"/>
                  </a:lnTo>
                  <a:lnTo>
                    <a:pt x="1054" y="1897"/>
                  </a:lnTo>
                  <a:lnTo>
                    <a:pt x="1072" y="1932"/>
                  </a:lnTo>
                  <a:lnTo>
                    <a:pt x="1090" y="1949"/>
                  </a:lnTo>
                  <a:lnTo>
                    <a:pt x="1125" y="1932"/>
                  </a:lnTo>
                  <a:lnTo>
                    <a:pt x="1160" y="1897"/>
                  </a:lnTo>
                  <a:lnTo>
                    <a:pt x="1177" y="1879"/>
                  </a:lnTo>
                  <a:lnTo>
                    <a:pt x="1160" y="1844"/>
                  </a:lnTo>
                  <a:lnTo>
                    <a:pt x="1142" y="1791"/>
                  </a:lnTo>
                  <a:lnTo>
                    <a:pt x="1142" y="1721"/>
                  </a:lnTo>
                  <a:lnTo>
                    <a:pt x="1177" y="1668"/>
                  </a:lnTo>
                  <a:lnTo>
                    <a:pt x="1230" y="1651"/>
                  </a:lnTo>
                  <a:lnTo>
                    <a:pt x="1265" y="1633"/>
                  </a:lnTo>
                  <a:lnTo>
                    <a:pt x="1300" y="1633"/>
                  </a:lnTo>
                  <a:lnTo>
                    <a:pt x="1353" y="1668"/>
                  </a:lnTo>
                  <a:lnTo>
                    <a:pt x="1406" y="1686"/>
                  </a:lnTo>
                  <a:lnTo>
                    <a:pt x="1476" y="1668"/>
                  </a:lnTo>
                  <a:lnTo>
                    <a:pt x="1511" y="1686"/>
                  </a:lnTo>
                  <a:lnTo>
                    <a:pt x="1529" y="1686"/>
                  </a:lnTo>
                  <a:lnTo>
                    <a:pt x="1529" y="1703"/>
                  </a:lnTo>
                  <a:lnTo>
                    <a:pt x="1494" y="1756"/>
                  </a:lnTo>
                  <a:lnTo>
                    <a:pt x="1494" y="1774"/>
                  </a:lnTo>
                  <a:lnTo>
                    <a:pt x="1511" y="1774"/>
                  </a:lnTo>
                  <a:lnTo>
                    <a:pt x="1564" y="1791"/>
                  </a:lnTo>
                  <a:lnTo>
                    <a:pt x="1599" y="1809"/>
                  </a:lnTo>
                  <a:lnTo>
                    <a:pt x="1669" y="1897"/>
                  </a:lnTo>
                  <a:lnTo>
                    <a:pt x="1740" y="2090"/>
                  </a:lnTo>
                  <a:lnTo>
                    <a:pt x="1810" y="2195"/>
                  </a:lnTo>
                  <a:lnTo>
                    <a:pt x="1898" y="2300"/>
                  </a:lnTo>
                  <a:lnTo>
                    <a:pt x="1968" y="2406"/>
                  </a:lnTo>
                  <a:lnTo>
                    <a:pt x="2038" y="2511"/>
                  </a:lnTo>
                  <a:lnTo>
                    <a:pt x="2056" y="2582"/>
                  </a:lnTo>
                  <a:lnTo>
                    <a:pt x="2038" y="2652"/>
                  </a:lnTo>
                  <a:lnTo>
                    <a:pt x="2038" y="2722"/>
                  </a:lnTo>
                  <a:lnTo>
                    <a:pt x="2056" y="2827"/>
                  </a:lnTo>
                  <a:lnTo>
                    <a:pt x="2003" y="2845"/>
                  </a:lnTo>
                  <a:lnTo>
                    <a:pt x="1986" y="2845"/>
                  </a:lnTo>
                  <a:lnTo>
                    <a:pt x="1986" y="2827"/>
                  </a:lnTo>
                  <a:lnTo>
                    <a:pt x="1986" y="2775"/>
                  </a:lnTo>
                  <a:lnTo>
                    <a:pt x="1933" y="2740"/>
                  </a:lnTo>
                  <a:lnTo>
                    <a:pt x="1880" y="2722"/>
                  </a:lnTo>
                  <a:lnTo>
                    <a:pt x="1792" y="2845"/>
                  </a:lnTo>
                  <a:lnTo>
                    <a:pt x="1880" y="2880"/>
                  </a:lnTo>
                  <a:lnTo>
                    <a:pt x="1915" y="2880"/>
                  </a:lnTo>
                  <a:lnTo>
                    <a:pt x="1933" y="2880"/>
                  </a:lnTo>
                  <a:lnTo>
                    <a:pt x="1933" y="2968"/>
                  </a:lnTo>
                  <a:lnTo>
                    <a:pt x="1898" y="3003"/>
                  </a:lnTo>
                  <a:lnTo>
                    <a:pt x="1880" y="3021"/>
                  </a:lnTo>
                  <a:lnTo>
                    <a:pt x="1863" y="3021"/>
                  </a:lnTo>
                  <a:lnTo>
                    <a:pt x="1880" y="3056"/>
                  </a:lnTo>
                  <a:lnTo>
                    <a:pt x="1898" y="3091"/>
                  </a:lnTo>
                  <a:lnTo>
                    <a:pt x="1898" y="3126"/>
                  </a:lnTo>
                  <a:lnTo>
                    <a:pt x="1880" y="3161"/>
                  </a:lnTo>
                  <a:lnTo>
                    <a:pt x="1827" y="3179"/>
                  </a:lnTo>
                  <a:lnTo>
                    <a:pt x="1757" y="3196"/>
                  </a:lnTo>
                  <a:lnTo>
                    <a:pt x="1687" y="3196"/>
                  </a:lnTo>
                  <a:lnTo>
                    <a:pt x="1669" y="3214"/>
                  </a:lnTo>
                  <a:lnTo>
                    <a:pt x="1652" y="3231"/>
                  </a:lnTo>
                  <a:lnTo>
                    <a:pt x="1634" y="3284"/>
                  </a:lnTo>
                  <a:lnTo>
                    <a:pt x="1634" y="3319"/>
                  </a:lnTo>
                  <a:lnTo>
                    <a:pt x="1652" y="3354"/>
                  </a:lnTo>
                  <a:lnTo>
                    <a:pt x="1634" y="3372"/>
                  </a:lnTo>
                  <a:lnTo>
                    <a:pt x="1599" y="3372"/>
                  </a:lnTo>
                  <a:lnTo>
                    <a:pt x="1564" y="3266"/>
                  </a:lnTo>
                  <a:lnTo>
                    <a:pt x="1564" y="3196"/>
                  </a:lnTo>
                  <a:lnTo>
                    <a:pt x="1564" y="3126"/>
                  </a:lnTo>
                  <a:lnTo>
                    <a:pt x="1546" y="3108"/>
                  </a:lnTo>
                  <a:lnTo>
                    <a:pt x="1511" y="3091"/>
                  </a:lnTo>
                  <a:lnTo>
                    <a:pt x="1476" y="3056"/>
                  </a:lnTo>
                  <a:lnTo>
                    <a:pt x="1476" y="3038"/>
                  </a:lnTo>
                  <a:lnTo>
                    <a:pt x="1458" y="3038"/>
                  </a:lnTo>
                  <a:lnTo>
                    <a:pt x="1406" y="3073"/>
                  </a:lnTo>
                  <a:lnTo>
                    <a:pt x="1388" y="3126"/>
                  </a:lnTo>
                  <a:lnTo>
                    <a:pt x="1318" y="3266"/>
                  </a:lnTo>
                  <a:lnTo>
                    <a:pt x="1265" y="3354"/>
                  </a:lnTo>
                  <a:lnTo>
                    <a:pt x="1177" y="3425"/>
                  </a:lnTo>
                  <a:lnTo>
                    <a:pt x="1142" y="3442"/>
                  </a:lnTo>
                  <a:lnTo>
                    <a:pt x="1107" y="3442"/>
                  </a:lnTo>
                  <a:lnTo>
                    <a:pt x="1090" y="3442"/>
                  </a:lnTo>
                  <a:lnTo>
                    <a:pt x="1072" y="3407"/>
                  </a:lnTo>
                  <a:lnTo>
                    <a:pt x="1019" y="3319"/>
                  </a:lnTo>
                  <a:lnTo>
                    <a:pt x="1002" y="3284"/>
                  </a:lnTo>
                  <a:lnTo>
                    <a:pt x="967" y="3284"/>
                  </a:lnTo>
                  <a:lnTo>
                    <a:pt x="984" y="3249"/>
                  </a:lnTo>
                  <a:lnTo>
                    <a:pt x="984" y="3214"/>
                  </a:lnTo>
                  <a:lnTo>
                    <a:pt x="984" y="3179"/>
                  </a:lnTo>
                  <a:lnTo>
                    <a:pt x="1002" y="3161"/>
                  </a:lnTo>
                  <a:lnTo>
                    <a:pt x="1019" y="3126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10"/>
            <p:cNvSpPr>
              <a:spLocks/>
            </p:cNvSpPr>
            <p:nvPr/>
          </p:nvSpPr>
          <p:spPr bwMode="auto">
            <a:xfrm>
              <a:off x="2967892" y="4127070"/>
              <a:ext cx="628651" cy="777269"/>
            </a:xfrm>
            <a:custGeom>
              <a:avLst/>
              <a:gdLst>
                <a:gd name="T0" fmla="*/ 685 w 1037"/>
                <a:gd name="T1" fmla="*/ 18 h 1282"/>
                <a:gd name="T2" fmla="*/ 580 w 1037"/>
                <a:gd name="T3" fmla="*/ 264 h 1282"/>
                <a:gd name="T4" fmla="*/ 545 w 1037"/>
                <a:gd name="T5" fmla="*/ 334 h 1282"/>
                <a:gd name="T6" fmla="*/ 492 w 1037"/>
                <a:gd name="T7" fmla="*/ 387 h 1282"/>
                <a:gd name="T8" fmla="*/ 404 w 1037"/>
                <a:gd name="T9" fmla="*/ 422 h 1282"/>
                <a:gd name="T10" fmla="*/ 387 w 1037"/>
                <a:gd name="T11" fmla="*/ 457 h 1282"/>
                <a:gd name="T12" fmla="*/ 404 w 1037"/>
                <a:gd name="T13" fmla="*/ 510 h 1282"/>
                <a:gd name="T14" fmla="*/ 422 w 1037"/>
                <a:gd name="T15" fmla="*/ 545 h 1282"/>
                <a:gd name="T16" fmla="*/ 387 w 1037"/>
                <a:gd name="T17" fmla="*/ 597 h 1282"/>
                <a:gd name="T18" fmla="*/ 387 w 1037"/>
                <a:gd name="T19" fmla="*/ 615 h 1282"/>
                <a:gd name="T20" fmla="*/ 404 w 1037"/>
                <a:gd name="T21" fmla="*/ 650 h 1282"/>
                <a:gd name="T22" fmla="*/ 369 w 1037"/>
                <a:gd name="T23" fmla="*/ 703 h 1282"/>
                <a:gd name="T24" fmla="*/ 316 w 1037"/>
                <a:gd name="T25" fmla="*/ 720 h 1282"/>
                <a:gd name="T26" fmla="*/ 264 w 1037"/>
                <a:gd name="T27" fmla="*/ 756 h 1282"/>
                <a:gd name="T28" fmla="*/ 246 w 1037"/>
                <a:gd name="T29" fmla="*/ 808 h 1282"/>
                <a:gd name="T30" fmla="*/ 193 w 1037"/>
                <a:gd name="T31" fmla="*/ 791 h 1282"/>
                <a:gd name="T32" fmla="*/ 176 w 1037"/>
                <a:gd name="T33" fmla="*/ 791 h 1282"/>
                <a:gd name="T34" fmla="*/ 123 w 1037"/>
                <a:gd name="T35" fmla="*/ 878 h 1282"/>
                <a:gd name="T36" fmla="*/ 88 w 1037"/>
                <a:gd name="T37" fmla="*/ 878 h 1282"/>
                <a:gd name="T38" fmla="*/ 70 w 1037"/>
                <a:gd name="T39" fmla="*/ 878 h 1282"/>
                <a:gd name="T40" fmla="*/ 18 w 1037"/>
                <a:gd name="T41" fmla="*/ 931 h 1282"/>
                <a:gd name="T42" fmla="*/ 0 w 1037"/>
                <a:gd name="T43" fmla="*/ 1001 h 1282"/>
                <a:gd name="T44" fmla="*/ 53 w 1037"/>
                <a:gd name="T45" fmla="*/ 1072 h 1282"/>
                <a:gd name="T46" fmla="*/ 141 w 1037"/>
                <a:gd name="T47" fmla="*/ 1107 h 1282"/>
                <a:gd name="T48" fmla="*/ 158 w 1037"/>
                <a:gd name="T49" fmla="*/ 1089 h 1282"/>
                <a:gd name="T50" fmla="*/ 176 w 1037"/>
                <a:gd name="T51" fmla="*/ 1089 h 1282"/>
                <a:gd name="T52" fmla="*/ 246 w 1037"/>
                <a:gd name="T53" fmla="*/ 1124 h 1282"/>
                <a:gd name="T54" fmla="*/ 299 w 1037"/>
                <a:gd name="T55" fmla="*/ 1160 h 1282"/>
                <a:gd name="T56" fmla="*/ 351 w 1037"/>
                <a:gd name="T57" fmla="*/ 1177 h 1282"/>
                <a:gd name="T58" fmla="*/ 404 w 1037"/>
                <a:gd name="T59" fmla="*/ 1177 h 1282"/>
                <a:gd name="T60" fmla="*/ 457 w 1037"/>
                <a:gd name="T61" fmla="*/ 1230 h 1282"/>
                <a:gd name="T62" fmla="*/ 474 w 1037"/>
                <a:gd name="T63" fmla="*/ 1230 h 1282"/>
                <a:gd name="T64" fmla="*/ 509 w 1037"/>
                <a:gd name="T65" fmla="*/ 1212 h 1282"/>
                <a:gd name="T66" fmla="*/ 545 w 1037"/>
                <a:gd name="T67" fmla="*/ 1195 h 1282"/>
                <a:gd name="T68" fmla="*/ 580 w 1037"/>
                <a:gd name="T69" fmla="*/ 1212 h 1282"/>
                <a:gd name="T70" fmla="*/ 685 w 1037"/>
                <a:gd name="T71" fmla="*/ 1265 h 1282"/>
                <a:gd name="T72" fmla="*/ 720 w 1037"/>
                <a:gd name="T73" fmla="*/ 1282 h 1282"/>
                <a:gd name="T74" fmla="*/ 773 w 1037"/>
                <a:gd name="T75" fmla="*/ 1247 h 1282"/>
                <a:gd name="T76" fmla="*/ 826 w 1037"/>
                <a:gd name="T77" fmla="*/ 1247 h 1282"/>
                <a:gd name="T78" fmla="*/ 843 w 1037"/>
                <a:gd name="T79" fmla="*/ 1230 h 1282"/>
                <a:gd name="T80" fmla="*/ 826 w 1037"/>
                <a:gd name="T81" fmla="*/ 1160 h 1282"/>
                <a:gd name="T82" fmla="*/ 861 w 1037"/>
                <a:gd name="T83" fmla="*/ 1107 h 1282"/>
                <a:gd name="T84" fmla="*/ 896 w 1037"/>
                <a:gd name="T85" fmla="*/ 1072 h 1282"/>
                <a:gd name="T86" fmla="*/ 1001 w 1037"/>
                <a:gd name="T87" fmla="*/ 1072 h 1282"/>
                <a:gd name="T88" fmla="*/ 1037 w 1037"/>
                <a:gd name="T89" fmla="*/ 1001 h 1282"/>
                <a:gd name="T90" fmla="*/ 1037 w 1037"/>
                <a:gd name="T91" fmla="*/ 931 h 1282"/>
                <a:gd name="T92" fmla="*/ 1001 w 1037"/>
                <a:gd name="T93" fmla="*/ 773 h 1282"/>
                <a:gd name="T94" fmla="*/ 949 w 1037"/>
                <a:gd name="T95" fmla="*/ 738 h 1282"/>
                <a:gd name="T96" fmla="*/ 896 w 1037"/>
                <a:gd name="T97" fmla="*/ 685 h 1282"/>
                <a:gd name="T98" fmla="*/ 896 w 1037"/>
                <a:gd name="T99" fmla="*/ 668 h 1282"/>
                <a:gd name="T100" fmla="*/ 914 w 1037"/>
                <a:gd name="T101" fmla="*/ 650 h 1282"/>
                <a:gd name="T102" fmla="*/ 914 w 1037"/>
                <a:gd name="T103" fmla="*/ 545 h 1282"/>
                <a:gd name="T104" fmla="*/ 896 w 1037"/>
                <a:gd name="T105" fmla="*/ 387 h 1282"/>
                <a:gd name="T106" fmla="*/ 914 w 1037"/>
                <a:gd name="T107" fmla="*/ 316 h 1282"/>
                <a:gd name="T108" fmla="*/ 861 w 1037"/>
                <a:gd name="T109" fmla="*/ 229 h 1282"/>
                <a:gd name="T110" fmla="*/ 826 w 1037"/>
                <a:gd name="T111" fmla="*/ 176 h 1282"/>
                <a:gd name="T112" fmla="*/ 755 w 1037"/>
                <a:gd name="T113" fmla="*/ 88 h 1282"/>
                <a:gd name="T114" fmla="*/ 720 w 1037"/>
                <a:gd name="T115" fmla="*/ 35 h 1282"/>
                <a:gd name="T116" fmla="*/ 703 w 1037"/>
                <a:gd name="T117" fmla="*/ 0 h 1282"/>
                <a:gd name="T118" fmla="*/ 685 w 1037"/>
                <a:gd name="T119" fmla="*/ 18 h 128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037"/>
                <a:gd name="T181" fmla="*/ 0 h 1282"/>
                <a:gd name="T182" fmla="*/ 1037 w 1037"/>
                <a:gd name="T183" fmla="*/ 1282 h 128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037" h="1282">
                  <a:moveTo>
                    <a:pt x="685" y="18"/>
                  </a:moveTo>
                  <a:lnTo>
                    <a:pt x="685" y="18"/>
                  </a:lnTo>
                  <a:lnTo>
                    <a:pt x="632" y="141"/>
                  </a:lnTo>
                  <a:lnTo>
                    <a:pt x="580" y="264"/>
                  </a:lnTo>
                  <a:lnTo>
                    <a:pt x="545" y="334"/>
                  </a:lnTo>
                  <a:lnTo>
                    <a:pt x="492" y="387"/>
                  </a:lnTo>
                  <a:lnTo>
                    <a:pt x="422" y="404"/>
                  </a:lnTo>
                  <a:lnTo>
                    <a:pt x="404" y="422"/>
                  </a:lnTo>
                  <a:lnTo>
                    <a:pt x="387" y="457"/>
                  </a:lnTo>
                  <a:lnTo>
                    <a:pt x="387" y="475"/>
                  </a:lnTo>
                  <a:lnTo>
                    <a:pt x="404" y="510"/>
                  </a:lnTo>
                  <a:lnTo>
                    <a:pt x="422" y="545"/>
                  </a:lnTo>
                  <a:lnTo>
                    <a:pt x="404" y="580"/>
                  </a:lnTo>
                  <a:lnTo>
                    <a:pt x="387" y="597"/>
                  </a:lnTo>
                  <a:lnTo>
                    <a:pt x="387" y="615"/>
                  </a:lnTo>
                  <a:lnTo>
                    <a:pt x="404" y="650"/>
                  </a:lnTo>
                  <a:lnTo>
                    <a:pt x="387" y="685"/>
                  </a:lnTo>
                  <a:lnTo>
                    <a:pt x="369" y="703"/>
                  </a:lnTo>
                  <a:lnTo>
                    <a:pt x="316" y="720"/>
                  </a:lnTo>
                  <a:lnTo>
                    <a:pt x="281" y="738"/>
                  </a:lnTo>
                  <a:lnTo>
                    <a:pt x="264" y="756"/>
                  </a:lnTo>
                  <a:lnTo>
                    <a:pt x="264" y="791"/>
                  </a:lnTo>
                  <a:lnTo>
                    <a:pt x="246" y="808"/>
                  </a:lnTo>
                  <a:lnTo>
                    <a:pt x="193" y="791"/>
                  </a:lnTo>
                  <a:lnTo>
                    <a:pt x="176" y="791"/>
                  </a:lnTo>
                  <a:lnTo>
                    <a:pt x="158" y="826"/>
                  </a:lnTo>
                  <a:lnTo>
                    <a:pt x="123" y="878"/>
                  </a:lnTo>
                  <a:lnTo>
                    <a:pt x="88" y="878"/>
                  </a:lnTo>
                  <a:lnTo>
                    <a:pt x="70" y="878"/>
                  </a:lnTo>
                  <a:lnTo>
                    <a:pt x="35" y="896"/>
                  </a:lnTo>
                  <a:lnTo>
                    <a:pt x="18" y="931"/>
                  </a:lnTo>
                  <a:lnTo>
                    <a:pt x="0" y="1001"/>
                  </a:lnTo>
                  <a:lnTo>
                    <a:pt x="18" y="1037"/>
                  </a:lnTo>
                  <a:lnTo>
                    <a:pt x="53" y="1072"/>
                  </a:lnTo>
                  <a:lnTo>
                    <a:pt x="105" y="1089"/>
                  </a:lnTo>
                  <a:lnTo>
                    <a:pt x="141" y="1107"/>
                  </a:lnTo>
                  <a:lnTo>
                    <a:pt x="158" y="1089"/>
                  </a:lnTo>
                  <a:lnTo>
                    <a:pt x="176" y="1089"/>
                  </a:lnTo>
                  <a:lnTo>
                    <a:pt x="211" y="1089"/>
                  </a:lnTo>
                  <a:lnTo>
                    <a:pt x="246" y="1124"/>
                  </a:lnTo>
                  <a:lnTo>
                    <a:pt x="299" y="1160"/>
                  </a:lnTo>
                  <a:lnTo>
                    <a:pt x="334" y="1177"/>
                  </a:lnTo>
                  <a:lnTo>
                    <a:pt x="351" y="1177"/>
                  </a:lnTo>
                  <a:lnTo>
                    <a:pt x="404" y="1177"/>
                  </a:lnTo>
                  <a:lnTo>
                    <a:pt x="439" y="1212"/>
                  </a:lnTo>
                  <a:lnTo>
                    <a:pt x="457" y="1230"/>
                  </a:lnTo>
                  <a:lnTo>
                    <a:pt x="474" y="1230"/>
                  </a:lnTo>
                  <a:lnTo>
                    <a:pt x="492" y="1230"/>
                  </a:lnTo>
                  <a:lnTo>
                    <a:pt x="509" y="1212"/>
                  </a:lnTo>
                  <a:lnTo>
                    <a:pt x="527" y="1195"/>
                  </a:lnTo>
                  <a:lnTo>
                    <a:pt x="545" y="1195"/>
                  </a:lnTo>
                  <a:lnTo>
                    <a:pt x="580" y="1212"/>
                  </a:lnTo>
                  <a:lnTo>
                    <a:pt x="632" y="1230"/>
                  </a:lnTo>
                  <a:lnTo>
                    <a:pt x="685" y="1265"/>
                  </a:lnTo>
                  <a:lnTo>
                    <a:pt x="720" y="1282"/>
                  </a:lnTo>
                  <a:lnTo>
                    <a:pt x="738" y="1265"/>
                  </a:lnTo>
                  <a:lnTo>
                    <a:pt x="773" y="1247"/>
                  </a:lnTo>
                  <a:lnTo>
                    <a:pt x="826" y="1247"/>
                  </a:lnTo>
                  <a:lnTo>
                    <a:pt x="843" y="1230"/>
                  </a:lnTo>
                  <a:lnTo>
                    <a:pt x="843" y="1195"/>
                  </a:lnTo>
                  <a:lnTo>
                    <a:pt x="826" y="1160"/>
                  </a:lnTo>
                  <a:lnTo>
                    <a:pt x="861" y="1107"/>
                  </a:lnTo>
                  <a:lnTo>
                    <a:pt x="896" y="1072"/>
                  </a:lnTo>
                  <a:lnTo>
                    <a:pt x="1001" y="1072"/>
                  </a:lnTo>
                  <a:lnTo>
                    <a:pt x="1037" y="1001"/>
                  </a:lnTo>
                  <a:lnTo>
                    <a:pt x="1037" y="931"/>
                  </a:lnTo>
                  <a:lnTo>
                    <a:pt x="1001" y="773"/>
                  </a:lnTo>
                  <a:lnTo>
                    <a:pt x="984" y="756"/>
                  </a:lnTo>
                  <a:lnTo>
                    <a:pt x="949" y="738"/>
                  </a:lnTo>
                  <a:lnTo>
                    <a:pt x="914" y="720"/>
                  </a:lnTo>
                  <a:lnTo>
                    <a:pt x="896" y="685"/>
                  </a:lnTo>
                  <a:lnTo>
                    <a:pt x="896" y="668"/>
                  </a:lnTo>
                  <a:lnTo>
                    <a:pt x="914" y="650"/>
                  </a:lnTo>
                  <a:lnTo>
                    <a:pt x="914" y="545"/>
                  </a:lnTo>
                  <a:lnTo>
                    <a:pt x="896" y="387"/>
                  </a:lnTo>
                  <a:lnTo>
                    <a:pt x="914" y="316"/>
                  </a:lnTo>
                  <a:lnTo>
                    <a:pt x="896" y="264"/>
                  </a:lnTo>
                  <a:lnTo>
                    <a:pt x="861" y="229"/>
                  </a:lnTo>
                  <a:lnTo>
                    <a:pt x="826" y="176"/>
                  </a:lnTo>
                  <a:lnTo>
                    <a:pt x="791" y="141"/>
                  </a:lnTo>
                  <a:lnTo>
                    <a:pt x="755" y="88"/>
                  </a:lnTo>
                  <a:lnTo>
                    <a:pt x="720" y="35"/>
                  </a:lnTo>
                  <a:lnTo>
                    <a:pt x="703" y="0"/>
                  </a:lnTo>
                  <a:lnTo>
                    <a:pt x="685" y="18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11"/>
            <p:cNvSpPr>
              <a:spLocks/>
            </p:cNvSpPr>
            <p:nvPr/>
          </p:nvSpPr>
          <p:spPr bwMode="auto">
            <a:xfrm>
              <a:off x="2424718" y="2412470"/>
              <a:ext cx="511044" cy="671168"/>
            </a:xfrm>
            <a:custGeom>
              <a:avLst/>
              <a:gdLst>
                <a:gd name="T0" fmla="*/ 141 w 843"/>
                <a:gd name="T1" fmla="*/ 545 h 1107"/>
                <a:gd name="T2" fmla="*/ 141 w 843"/>
                <a:gd name="T3" fmla="*/ 598 h 1107"/>
                <a:gd name="T4" fmla="*/ 158 w 843"/>
                <a:gd name="T5" fmla="*/ 633 h 1107"/>
                <a:gd name="T6" fmla="*/ 228 w 843"/>
                <a:gd name="T7" fmla="*/ 633 h 1107"/>
                <a:gd name="T8" fmla="*/ 228 w 843"/>
                <a:gd name="T9" fmla="*/ 598 h 1107"/>
                <a:gd name="T10" fmla="*/ 264 w 843"/>
                <a:gd name="T11" fmla="*/ 545 h 1107"/>
                <a:gd name="T12" fmla="*/ 316 w 843"/>
                <a:gd name="T13" fmla="*/ 756 h 1107"/>
                <a:gd name="T14" fmla="*/ 369 w 843"/>
                <a:gd name="T15" fmla="*/ 896 h 1107"/>
                <a:gd name="T16" fmla="*/ 474 w 843"/>
                <a:gd name="T17" fmla="*/ 1054 h 1107"/>
                <a:gd name="T18" fmla="*/ 580 w 843"/>
                <a:gd name="T19" fmla="*/ 1107 h 1107"/>
                <a:gd name="T20" fmla="*/ 632 w 843"/>
                <a:gd name="T21" fmla="*/ 1107 h 1107"/>
                <a:gd name="T22" fmla="*/ 738 w 843"/>
                <a:gd name="T23" fmla="*/ 1089 h 1107"/>
                <a:gd name="T24" fmla="*/ 808 w 843"/>
                <a:gd name="T25" fmla="*/ 1019 h 1107"/>
                <a:gd name="T26" fmla="*/ 843 w 843"/>
                <a:gd name="T27" fmla="*/ 931 h 1107"/>
                <a:gd name="T28" fmla="*/ 843 w 843"/>
                <a:gd name="T29" fmla="*/ 808 h 1107"/>
                <a:gd name="T30" fmla="*/ 808 w 843"/>
                <a:gd name="T31" fmla="*/ 668 h 1107"/>
                <a:gd name="T32" fmla="*/ 773 w 843"/>
                <a:gd name="T33" fmla="*/ 440 h 1107"/>
                <a:gd name="T34" fmla="*/ 738 w 843"/>
                <a:gd name="T35" fmla="*/ 404 h 1107"/>
                <a:gd name="T36" fmla="*/ 720 w 843"/>
                <a:gd name="T37" fmla="*/ 334 h 1107"/>
                <a:gd name="T38" fmla="*/ 685 w 843"/>
                <a:gd name="T39" fmla="*/ 281 h 1107"/>
                <a:gd name="T40" fmla="*/ 580 w 843"/>
                <a:gd name="T41" fmla="*/ 264 h 1107"/>
                <a:gd name="T42" fmla="*/ 650 w 843"/>
                <a:gd name="T43" fmla="*/ 246 h 1107"/>
                <a:gd name="T44" fmla="*/ 632 w 843"/>
                <a:gd name="T45" fmla="*/ 211 h 1107"/>
                <a:gd name="T46" fmla="*/ 632 w 843"/>
                <a:gd name="T47" fmla="*/ 123 h 1107"/>
                <a:gd name="T48" fmla="*/ 650 w 843"/>
                <a:gd name="T49" fmla="*/ 141 h 1107"/>
                <a:gd name="T50" fmla="*/ 703 w 843"/>
                <a:gd name="T51" fmla="*/ 194 h 1107"/>
                <a:gd name="T52" fmla="*/ 703 w 843"/>
                <a:gd name="T53" fmla="*/ 194 h 1107"/>
                <a:gd name="T54" fmla="*/ 668 w 843"/>
                <a:gd name="T55" fmla="*/ 88 h 1107"/>
                <a:gd name="T56" fmla="*/ 615 w 843"/>
                <a:gd name="T57" fmla="*/ 71 h 1107"/>
                <a:gd name="T58" fmla="*/ 545 w 843"/>
                <a:gd name="T59" fmla="*/ 53 h 1107"/>
                <a:gd name="T60" fmla="*/ 457 w 843"/>
                <a:gd name="T61" fmla="*/ 18 h 1107"/>
                <a:gd name="T62" fmla="*/ 316 w 843"/>
                <a:gd name="T63" fmla="*/ 18 h 1107"/>
                <a:gd name="T64" fmla="*/ 264 w 843"/>
                <a:gd name="T65" fmla="*/ 71 h 1107"/>
                <a:gd name="T66" fmla="*/ 228 w 843"/>
                <a:gd name="T67" fmla="*/ 194 h 1107"/>
                <a:gd name="T68" fmla="*/ 228 w 843"/>
                <a:gd name="T69" fmla="*/ 246 h 1107"/>
                <a:gd name="T70" fmla="*/ 193 w 843"/>
                <a:gd name="T71" fmla="*/ 281 h 1107"/>
                <a:gd name="T72" fmla="*/ 105 w 843"/>
                <a:gd name="T73" fmla="*/ 299 h 1107"/>
                <a:gd name="T74" fmla="*/ 53 w 843"/>
                <a:gd name="T75" fmla="*/ 317 h 1107"/>
                <a:gd name="T76" fmla="*/ 0 w 843"/>
                <a:gd name="T77" fmla="*/ 404 h 1107"/>
                <a:gd name="T78" fmla="*/ 70 w 843"/>
                <a:gd name="T79" fmla="*/ 457 h 1107"/>
                <a:gd name="T80" fmla="*/ 141 w 843"/>
                <a:gd name="T81" fmla="*/ 545 h 1107"/>
                <a:gd name="T82" fmla="*/ 141 w 843"/>
                <a:gd name="T83" fmla="*/ 545 h 110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843"/>
                <a:gd name="T127" fmla="*/ 0 h 1107"/>
                <a:gd name="T128" fmla="*/ 843 w 843"/>
                <a:gd name="T129" fmla="*/ 1107 h 110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843" h="1107">
                  <a:moveTo>
                    <a:pt x="141" y="545"/>
                  </a:moveTo>
                  <a:lnTo>
                    <a:pt x="141" y="545"/>
                  </a:lnTo>
                  <a:lnTo>
                    <a:pt x="141" y="598"/>
                  </a:lnTo>
                  <a:lnTo>
                    <a:pt x="141" y="615"/>
                  </a:lnTo>
                  <a:lnTo>
                    <a:pt x="158" y="633"/>
                  </a:lnTo>
                  <a:lnTo>
                    <a:pt x="228" y="633"/>
                  </a:lnTo>
                  <a:lnTo>
                    <a:pt x="228" y="598"/>
                  </a:lnTo>
                  <a:lnTo>
                    <a:pt x="246" y="510"/>
                  </a:lnTo>
                  <a:lnTo>
                    <a:pt x="264" y="545"/>
                  </a:lnTo>
                  <a:lnTo>
                    <a:pt x="281" y="650"/>
                  </a:lnTo>
                  <a:lnTo>
                    <a:pt x="316" y="756"/>
                  </a:lnTo>
                  <a:lnTo>
                    <a:pt x="369" y="896"/>
                  </a:lnTo>
                  <a:lnTo>
                    <a:pt x="422" y="1002"/>
                  </a:lnTo>
                  <a:lnTo>
                    <a:pt x="474" y="1054"/>
                  </a:lnTo>
                  <a:lnTo>
                    <a:pt x="527" y="1072"/>
                  </a:lnTo>
                  <a:lnTo>
                    <a:pt x="580" y="1107"/>
                  </a:lnTo>
                  <a:lnTo>
                    <a:pt x="632" y="1107"/>
                  </a:lnTo>
                  <a:lnTo>
                    <a:pt x="685" y="1107"/>
                  </a:lnTo>
                  <a:lnTo>
                    <a:pt x="738" y="1089"/>
                  </a:lnTo>
                  <a:lnTo>
                    <a:pt x="773" y="1054"/>
                  </a:lnTo>
                  <a:lnTo>
                    <a:pt x="808" y="1019"/>
                  </a:lnTo>
                  <a:lnTo>
                    <a:pt x="826" y="984"/>
                  </a:lnTo>
                  <a:lnTo>
                    <a:pt x="843" y="931"/>
                  </a:lnTo>
                  <a:lnTo>
                    <a:pt x="843" y="808"/>
                  </a:lnTo>
                  <a:lnTo>
                    <a:pt x="826" y="738"/>
                  </a:lnTo>
                  <a:lnTo>
                    <a:pt x="808" y="668"/>
                  </a:lnTo>
                  <a:lnTo>
                    <a:pt x="773" y="580"/>
                  </a:lnTo>
                  <a:lnTo>
                    <a:pt x="773" y="440"/>
                  </a:lnTo>
                  <a:lnTo>
                    <a:pt x="738" y="404"/>
                  </a:lnTo>
                  <a:lnTo>
                    <a:pt x="738" y="369"/>
                  </a:lnTo>
                  <a:lnTo>
                    <a:pt x="720" y="334"/>
                  </a:lnTo>
                  <a:lnTo>
                    <a:pt x="685" y="281"/>
                  </a:lnTo>
                  <a:lnTo>
                    <a:pt x="580" y="264"/>
                  </a:lnTo>
                  <a:lnTo>
                    <a:pt x="597" y="264"/>
                  </a:lnTo>
                  <a:lnTo>
                    <a:pt x="650" y="246"/>
                  </a:lnTo>
                  <a:lnTo>
                    <a:pt x="650" y="229"/>
                  </a:lnTo>
                  <a:lnTo>
                    <a:pt x="632" y="211"/>
                  </a:lnTo>
                  <a:lnTo>
                    <a:pt x="632" y="123"/>
                  </a:lnTo>
                  <a:lnTo>
                    <a:pt x="650" y="123"/>
                  </a:lnTo>
                  <a:lnTo>
                    <a:pt x="650" y="141"/>
                  </a:lnTo>
                  <a:lnTo>
                    <a:pt x="685" y="194"/>
                  </a:lnTo>
                  <a:lnTo>
                    <a:pt x="703" y="194"/>
                  </a:lnTo>
                  <a:lnTo>
                    <a:pt x="685" y="106"/>
                  </a:lnTo>
                  <a:lnTo>
                    <a:pt x="668" y="88"/>
                  </a:lnTo>
                  <a:lnTo>
                    <a:pt x="615" y="71"/>
                  </a:lnTo>
                  <a:lnTo>
                    <a:pt x="580" y="71"/>
                  </a:lnTo>
                  <a:lnTo>
                    <a:pt x="545" y="53"/>
                  </a:lnTo>
                  <a:lnTo>
                    <a:pt x="457" y="18"/>
                  </a:lnTo>
                  <a:lnTo>
                    <a:pt x="351" y="0"/>
                  </a:lnTo>
                  <a:lnTo>
                    <a:pt x="316" y="18"/>
                  </a:lnTo>
                  <a:lnTo>
                    <a:pt x="281" y="36"/>
                  </a:lnTo>
                  <a:lnTo>
                    <a:pt x="264" y="71"/>
                  </a:lnTo>
                  <a:lnTo>
                    <a:pt x="246" y="106"/>
                  </a:lnTo>
                  <a:lnTo>
                    <a:pt x="228" y="194"/>
                  </a:lnTo>
                  <a:lnTo>
                    <a:pt x="228" y="246"/>
                  </a:lnTo>
                  <a:lnTo>
                    <a:pt x="211" y="264"/>
                  </a:lnTo>
                  <a:lnTo>
                    <a:pt x="193" y="281"/>
                  </a:lnTo>
                  <a:lnTo>
                    <a:pt x="176" y="299"/>
                  </a:lnTo>
                  <a:lnTo>
                    <a:pt x="105" y="299"/>
                  </a:lnTo>
                  <a:lnTo>
                    <a:pt x="53" y="317"/>
                  </a:lnTo>
                  <a:lnTo>
                    <a:pt x="18" y="352"/>
                  </a:lnTo>
                  <a:lnTo>
                    <a:pt x="0" y="404"/>
                  </a:lnTo>
                  <a:lnTo>
                    <a:pt x="70" y="457"/>
                  </a:lnTo>
                  <a:lnTo>
                    <a:pt x="123" y="492"/>
                  </a:lnTo>
                  <a:lnTo>
                    <a:pt x="141" y="545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12"/>
            <p:cNvSpPr>
              <a:spLocks/>
            </p:cNvSpPr>
            <p:nvPr/>
          </p:nvSpPr>
          <p:spPr bwMode="auto">
            <a:xfrm>
              <a:off x="3606849" y="2679240"/>
              <a:ext cx="266131" cy="383178"/>
            </a:xfrm>
            <a:custGeom>
              <a:avLst/>
              <a:gdLst>
                <a:gd name="T0" fmla="*/ 299 w 439"/>
                <a:gd name="T1" fmla="*/ 17 h 632"/>
                <a:gd name="T2" fmla="*/ 264 w 439"/>
                <a:gd name="T3" fmla="*/ 0 h 632"/>
                <a:gd name="T4" fmla="*/ 246 w 439"/>
                <a:gd name="T5" fmla="*/ 70 h 632"/>
                <a:gd name="T6" fmla="*/ 193 w 439"/>
                <a:gd name="T7" fmla="*/ 52 h 632"/>
                <a:gd name="T8" fmla="*/ 158 w 439"/>
                <a:gd name="T9" fmla="*/ 52 h 632"/>
                <a:gd name="T10" fmla="*/ 158 w 439"/>
                <a:gd name="T11" fmla="*/ 87 h 632"/>
                <a:gd name="T12" fmla="*/ 193 w 439"/>
                <a:gd name="T13" fmla="*/ 123 h 632"/>
                <a:gd name="T14" fmla="*/ 158 w 439"/>
                <a:gd name="T15" fmla="*/ 140 h 632"/>
                <a:gd name="T16" fmla="*/ 141 w 439"/>
                <a:gd name="T17" fmla="*/ 140 h 632"/>
                <a:gd name="T18" fmla="*/ 123 w 439"/>
                <a:gd name="T19" fmla="*/ 193 h 632"/>
                <a:gd name="T20" fmla="*/ 106 w 439"/>
                <a:gd name="T21" fmla="*/ 193 h 632"/>
                <a:gd name="T22" fmla="*/ 53 w 439"/>
                <a:gd name="T23" fmla="*/ 175 h 632"/>
                <a:gd name="T24" fmla="*/ 35 w 439"/>
                <a:gd name="T25" fmla="*/ 175 h 632"/>
                <a:gd name="T26" fmla="*/ 0 w 439"/>
                <a:gd name="T27" fmla="*/ 263 h 632"/>
                <a:gd name="T28" fmla="*/ 18 w 439"/>
                <a:gd name="T29" fmla="*/ 298 h 632"/>
                <a:gd name="T30" fmla="*/ 88 w 439"/>
                <a:gd name="T31" fmla="*/ 351 h 632"/>
                <a:gd name="T32" fmla="*/ 88 w 439"/>
                <a:gd name="T33" fmla="*/ 386 h 632"/>
                <a:gd name="T34" fmla="*/ 88 w 439"/>
                <a:gd name="T35" fmla="*/ 404 h 632"/>
                <a:gd name="T36" fmla="*/ 70 w 439"/>
                <a:gd name="T37" fmla="*/ 439 h 632"/>
                <a:gd name="T38" fmla="*/ 53 w 439"/>
                <a:gd name="T39" fmla="*/ 474 h 632"/>
                <a:gd name="T40" fmla="*/ 53 w 439"/>
                <a:gd name="T41" fmla="*/ 509 h 632"/>
                <a:gd name="T42" fmla="*/ 123 w 439"/>
                <a:gd name="T43" fmla="*/ 579 h 632"/>
                <a:gd name="T44" fmla="*/ 228 w 439"/>
                <a:gd name="T45" fmla="*/ 632 h 632"/>
                <a:gd name="T46" fmla="*/ 264 w 439"/>
                <a:gd name="T47" fmla="*/ 632 h 632"/>
                <a:gd name="T48" fmla="*/ 246 w 439"/>
                <a:gd name="T49" fmla="*/ 544 h 632"/>
                <a:gd name="T50" fmla="*/ 228 w 439"/>
                <a:gd name="T51" fmla="*/ 456 h 632"/>
                <a:gd name="T52" fmla="*/ 281 w 439"/>
                <a:gd name="T53" fmla="*/ 263 h 632"/>
                <a:gd name="T54" fmla="*/ 387 w 439"/>
                <a:gd name="T55" fmla="*/ 175 h 632"/>
                <a:gd name="T56" fmla="*/ 369 w 439"/>
                <a:gd name="T57" fmla="*/ 158 h 632"/>
                <a:gd name="T58" fmla="*/ 439 w 439"/>
                <a:gd name="T59" fmla="*/ 140 h 632"/>
                <a:gd name="T60" fmla="*/ 404 w 439"/>
                <a:gd name="T61" fmla="*/ 87 h 632"/>
                <a:gd name="T62" fmla="*/ 369 w 439"/>
                <a:gd name="T63" fmla="*/ 35 h 632"/>
                <a:gd name="T64" fmla="*/ 299 w 439"/>
                <a:gd name="T65" fmla="*/ 17 h 632"/>
                <a:gd name="T66" fmla="*/ 299 w 439"/>
                <a:gd name="T67" fmla="*/ 17 h 63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39"/>
                <a:gd name="T103" fmla="*/ 0 h 632"/>
                <a:gd name="T104" fmla="*/ 439 w 439"/>
                <a:gd name="T105" fmla="*/ 632 h 63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39" h="632">
                  <a:moveTo>
                    <a:pt x="299" y="17"/>
                  </a:moveTo>
                  <a:lnTo>
                    <a:pt x="299" y="17"/>
                  </a:lnTo>
                  <a:lnTo>
                    <a:pt x="264" y="0"/>
                  </a:lnTo>
                  <a:lnTo>
                    <a:pt x="246" y="70"/>
                  </a:lnTo>
                  <a:lnTo>
                    <a:pt x="228" y="70"/>
                  </a:lnTo>
                  <a:lnTo>
                    <a:pt x="193" y="52"/>
                  </a:lnTo>
                  <a:lnTo>
                    <a:pt x="158" y="52"/>
                  </a:lnTo>
                  <a:lnTo>
                    <a:pt x="158" y="87"/>
                  </a:lnTo>
                  <a:lnTo>
                    <a:pt x="193" y="123"/>
                  </a:lnTo>
                  <a:lnTo>
                    <a:pt x="158" y="140"/>
                  </a:lnTo>
                  <a:lnTo>
                    <a:pt x="141" y="140"/>
                  </a:lnTo>
                  <a:lnTo>
                    <a:pt x="123" y="175"/>
                  </a:lnTo>
                  <a:lnTo>
                    <a:pt x="123" y="193"/>
                  </a:lnTo>
                  <a:lnTo>
                    <a:pt x="106" y="193"/>
                  </a:lnTo>
                  <a:lnTo>
                    <a:pt x="70" y="175"/>
                  </a:lnTo>
                  <a:lnTo>
                    <a:pt x="53" y="175"/>
                  </a:lnTo>
                  <a:lnTo>
                    <a:pt x="35" y="175"/>
                  </a:lnTo>
                  <a:lnTo>
                    <a:pt x="18" y="193"/>
                  </a:lnTo>
                  <a:lnTo>
                    <a:pt x="0" y="263"/>
                  </a:lnTo>
                  <a:lnTo>
                    <a:pt x="18" y="298"/>
                  </a:lnTo>
                  <a:lnTo>
                    <a:pt x="35" y="316"/>
                  </a:lnTo>
                  <a:lnTo>
                    <a:pt x="88" y="351"/>
                  </a:lnTo>
                  <a:lnTo>
                    <a:pt x="88" y="386"/>
                  </a:lnTo>
                  <a:lnTo>
                    <a:pt x="88" y="404"/>
                  </a:lnTo>
                  <a:lnTo>
                    <a:pt x="88" y="421"/>
                  </a:lnTo>
                  <a:lnTo>
                    <a:pt x="70" y="439"/>
                  </a:lnTo>
                  <a:lnTo>
                    <a:pt x="53" y="456"/>
                  </a:lnTo>
                  <a:lnTo>
                    <a:pt x="53" y="474"/>
                  </a:lnTo>
                  <a:lnTo>
                    <a:pt x="53" y="509"/>
                  </a:lnTo>
                  <a:lnTo>
                    <a:pt x="70" y="526"/>
                  </a:lnTo>
                  <a:lnTo>
                    <a:pt x="123" y="579"/>
                  </a:lnTo>
                  <a:lnTo>
                    <a:pt x="228" y="632"/>
                  </a:lnTo>
                  <a:lnTo>
                    <a:pt x="264" y="632"/>
                  </a:lnTo>
                  <a:lnTo>
                    <a:pt x="246" y="544"/>
                  </a:lnTo>
                  <a:lnTo>
                    <a:pt x="228" y="456"/>
                  </a:lnTo>
                  <a:lnTo>
                    <a:pt x="246" y="333"/>
                  </a:lnTo>
                  <a:lnTo>
                    <a:pt x="281" y="263"/>
                  </a:lnTo>
                  <a:lnTo>
                    <a:pt x="334" y="228"/>
                  </a:lnTo>
                  <a:lnTo>
                    <a:pt x="387" y="175"/>
                  </a:lnTo>
                  <a:lnTo>
                    <a:pt x="369" y="158"/>
                  </a:lnTo>
                  <a:lnTo>
                    <a:pt x="439" y="140"/>
                  </a:lnTo>
                  <a:lnTo>
                    <a:pt x="404" y="87"/>
                  </a:lnTo>
                  <a:lnTo>
                    <a:pt x="369" y="35"/>
                  </a:lnTo>
                  <a:lnTo>
                    <a:pt x="334" y="35"/>
                  </a:lnTo>
                  <a:lnTo>
                    <a:pt x="299" y="17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13"/>
            <p:cNvSpPr>
              <a:spLocks/>
            </p:cNvSpPr>
            <p:nvPr/>
          </p:nvSpPr>
          <p:spPr bwMode="auto">
            <a:xfrm>
              <a:off x="3819632" y="2412470"/>
              <a:ext cx="639563" cy="330430"/>
            </a:xfrm>
            <a:custGeom>
              <a:avLst/>
              <a:gdLst>
                <a:gd name="T0" fmla="*/ 932 w 1055"/>
                <a:gd name="T1" fmla="*/ 36 h 545"/>
                <a:gd name="T2" fmla="*/ 879 w 1055"/>
                <a:gd name="T3" fmla="*/ 71 h 545"/>
                <a:gd name="T4" fmla="*/ 791 w 1055"/>
                <a:gd name="T5" fmla="*/ 88 h 545"/>
                <a:gd name="T6" fmla="*/ 703 w 1055"/>
                <a:gd name="T7" fmla="*/ 88 h 545"/>
                <a:gd name="T8" fmla="*/ 598 w 1055"/>
                <a:gd name="T9" fmla="*/ 53 h 545"/>
                <a:gd name="T10" fmla="*/ 475 w 1055"/>
                <a:gd name="T11" fmla="*/ 71 h 545"/>
                <a:gd name="T12" fmla="*/ 405 w 1055"/>
                <a:gd name="T13" fmla="*/ 123 h 545"/>
                <a:gd name="T14" fmla="*/ 369 w 1055"/>
                <a:gd name="T15" fmla="*/ 159 h 545"/>
                <a:gd name="T16" fmla="*/ 334 w 1055"/>
                <a:gd name="T17" fmla="*/ 141 h 545"/>
                <a:gd name="T18" fmla="*/ 299 w 1055"/>
                <a:gd name="T19" fmla="*/ 159 h 545"/>
                <a:gd name="T20" fmla="*/ 264 w 1055"/>
                <a:gd name="T21" fmla="*/ 141 h 545"/>
                <a:gd name="T22" fmla="*/ 264 w 1055"/>
                <a:gd name="T23" fmla="*/ 176 h 545"/>
                <a:gd name="T24" fmla="*/ 229 w 1055"/>
                <a:gd name="T25" fmla="*/ 211 h 545"/>
                <a:gd name="T26" fmla="*/ 264 w 1055"/>
                <a:gd name="T27" fmla="*/ 264 h 545"/>
                <a:gd name="T28" fmla="*/ 229 w 1055"/>
                <a:gd name="T29" fmla="*/ 246 h 545"/>
                <a:gd name="T30" fmla="*/ 194 w 1055"/>
                <a:gd name="T31" fmla="*/ 246 h 545"/>
                <a:gd name="T32" fmla="*/ 176 w 1055"/>
                <a:gd name="T33" fmla="*/ 281 h 545"/>
                <a:gd name="T34" fmla="*/ 159 w 1055"/>
                <a:gd name="T35" fmla="*/ 299 h 545"/>
                <a:gd name="T36" fmla="*/ 123 w 1055"/>
                <a:gd name="T37" fmla="*/ 334 h 545"/>
                <a:gd name="T38" fmla="*/ 36 w 1055"/>
                <a:gd name="T39" fmla="*/ 334 h 545"/>
                <a:gd name="T40" fmla="*/ 0 w 1055"/>
                <a:gd name="T41" fmla="*/ 369 h 545"/>
                <a:gd name="T42" fmla="*/ 71 w 1055"/>
                <a:gd name="T43" fmla="*/ 422 h 545"/>
                <a:gd name="T44" fmla="*/ 18 w 1055"/>
                <a:gd name="T45" fmla="*/ 422 h 545"/>
                <a:gd name="T46" fmla="*/ 0 w 1055"/>
                <a:gd name="T47" fmla="*/ 440 h 545"/>
                <a:gd name="T48" fmla="*/ 36 w 1055"/>
                <a:gd name="T49" fmla="*/ 475 h 545"/>
                <a:gd name="T50" fmla="*/ 53 w 1055"/>
                <a:gd name="T51" fmla="*/ 527 h 545"/>
                <a:gd name="T52" fmla="*/ 141 w 1055"/>
                <a:gd name="T53" fmla="*/ 545 h 545"/>
                <a:gd name="T54" fmla="*/ 159 w 1055"/>
                <a:gd name="T55" fmla="*/ 527 h 545"/>
                <a:gd name="T56" fmla="*/ 211 w 1055"/>
                <a:gd name="T57" fmla="*/ 492 h 545"/>
                <a:gd name="T58" fmla="*/ 194 w 1055"/>
                <a:gd name="T59" fmla="*/ 440 h 545"/>
                <a:gd name="T60" fmla="*/ 229 w 1055"/>
                <a:gd name="T61" fmla="*/ 475 h 545"/>
                <a:gd name="T62" fmla="*/ 246 w 1055"/>
                <a:gd name="T63" fmla="*/ 440 h 545"/>
                <a:gd name="T64" fmla="*/ 246 w 1055"/>
                <a:gd name="T65" fmla="*/ 404 h 545"/>
                <a:gd name="T66" fmla="*/ 282 w 1055"/>
                <a:gd name="T67" fmla="*/ 422 h 545"/>
                <a:gd name="T68" fmla="*/ 334 w 1055"/>
                <a:gd name="T69" fmla="*/ 352 h 545"/>
                <a:gd name="T70" fmla="*/ 369 w 1055"/>
                <a:gd name="T71" fmla="*/ 369 h 545"/>
                <a:gd name="T72" fmla="*/ 405 w 1055"/>
                <a:gd name="T73" fmla="*/ 334 h 545"/>
                <a:gd name="T74" fmla="*/ 475 w 1055"/>
                <a:gd name="T75" fmla="*/ 334 h 545"/>
                <a:gd name="T76" fmla="*/ 492 w 1055"/>
                <a:gd name="T77" fmla="*/ 281 h 545"/>
                <a:gd name="T78" fmla="*/ 721 w 1055"/>
                <a:gd name="T79" fmla="*/ 229 h 545"/>
                <a:gd name="T80" fmla="*/ 879 w 1055"/>
                <a:gd name="T81" fmla="*/ 229 h 545"/>
                <a:gd name="T82" fmla="*/ 1037 w 1055"/>
                <a:gd name="T83" fmla="*/ 141 h 545"/>
                <a:gd name="T84" fmla="*/ 1037 w 1055"/>
                <a:gd name="T85" fmla="*/ 36 h 545"/>
                <a:gd name="T86" fmla="*/ 949 w 1055"/>
                <a:gd name="T87" fmla="*/ 18 h 54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055"/>
                <a:gd name="T133" fmla="*/ 0 h 545"/>
                <a:gd name="T134" fmla="*/ 1055 w 1055"/>
                <a:gd name="T135" fmla="*/ 545 h 54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055" h="545">
                  <a:moveTo>
                    <a:pt x="949" y="18"/>
                  </a:moveTo>
                  <a:lnTo>
                    <a:pt x="949" y="18"/>
                  </a:lnTo>
                  <a:lnTo>
                    <a:pt x="932" y="36"/>
                  </a:lnTo>
                  <a:lnTo>
                    <a:pt x="914" y="53"/>
                  </a:lnTo>
                  <a:lnTo>
                    <a:pt x="879" y="71"/>
                  </a:lnTo>
                  <a:lnTo>
                    <a:pt x="844" y="71"/>
                  </a:lnTo>
                  <a:lnTo>
                    <a:pt x="791" y="88"/>
                  </a:lnTo>
                  <a:lnTo>
                    <a:pt x="738" y="106"/>
                  </a:lnTo>
                  <a:lnTo>
                    <a:pt x="703" y="88"/>
                  </a:lnTo>
                  <a:lnTo>
                    <a:pt x="668" y="71"/>
                  </a:lnTo>
                  <a:lnTo>
                    <a:pt x="633" y="53"/>
                  </a:lnTo>
                  <a:lnTo>
                    <a:pt x="598" y="53"/>
                  </a:lnTo>
                  <a:lnTo>
                    <a:pt x="598" y="71"/>
                  </a:lnTo>
                  <a:lnTo>
                    <a:pt x="475" y="71"/>
                  </a:lnTo>
                  <a:lnTo>
                    <a:pt x="405" y="123"/>
                  </a:lnTo>
                  <a:lnTo>
                    <a:pt x="387" y="141"/>
                  </a:lnTo>
                  <a:lnTo>
                    <a:pt x="369" y="159"/>
                  </a:lnTo>
                  <a:lnTo>
                    <a:pt x="334" y="141"/>
                  </a:lnTo>
                  <a:lnTo>
                    <a:pt x="317" y="159"/>
                  </a:lnTo>
                  <a:lnTo>
                    <a:pt x="299" y="159"/>
                  </a:lnTo>
                  <a:lnTo>
                    <a:pt x="282" y="141"/>
                  </a:lnTo>
                  <a:lnTo>
                    <a:pt x="264" y="141"/>
                  </a:lnTo>
                  <a:lnTo>
                    <a:pt x="264" y="176"/>
                  </a:lnTo>
                  <a:lnTo>
                    <a:pt x="282" y="211"/>
                  </a:lnTo>
                  <a:lnTo>
                    <a:pt x="229" y="211"/>
                  </a:lnTo>
                  <a:lnTo>
                    <a:pt x="264" y="264"/>
                  </a:lnTo>
                  <a:lnTo>
                    <a:pt x="229" y="246"/>
                  </a:lnTo>
                  <a:lnTo>
                    <a:pt x="194" y="246"/>
                  </a:lnTo>
                  <a:lnTo>
                    <a:pt x="194" y="281"/>
                  </a:lnTo>
                  <a:lnTo>
                    <a:pt x="176" y="281"/>
                  </a:lnTo>
                  <a:lnTo>
                    <a:pt x="159" y="299"/>
                  </a:lnTo>
                  <a:lnTo>
                    <a:pt x="141" y="352"/>
                  </a:lnTo>
                  <a:lnTo>
                    <a:pt x="123" y="334"/>
                  </a:lnTo>
                  <a:lnTo>
                    <a:pt x="106" y="317"/>
                  </a:lnTo>
                  <a:lnTo>
                    <a:pt x="36" y="334"/>
                  </a:lnTo>
                  <a:lnTo>
                    <a:pt x="18" y="352"/>
                  </a:lnTo>
                  <a:lnTo>
                    <a:pt x="0" y="369"/>
                  </a:lnTo>
                  <a:lnTo>
                    <a:pt x="36" y="404"/>
                  </a:lnTo>
                  <a:lnTo>
                    <a:pt x="71" y="422"/>
                  </a:lnTo>
                  <a:lnTo>
                    <a:pt x="36" y="422"/>
                  </a:lnTo>
                  <a:lnTo>
                    <a:pt x="18" y="422"/>
                  </a:lnTo>
                  <a:lnTo>
                    <a:pt x="0" y="440"/>
                  </a:lnTo>
                  <a:lnTo>
                    <a:pt x="0" y="457"/>
                  </a:lnTo>
                  <a:lnTo>
                    <a:pt x="18" y="457"/>
                  </a:lnTo>
                  <a:lnTo>
                    <a:pt x="36" y="475"/>
                  </a:lnTo>
                  <a:lnTo>
                    <a:pt x="53" y="492"/>
                  </a:lnTo>
                  <a:lnTo>
                    <a:pt x="53" y="527"/>
                  </a:lnTo>
                  <a:lnTo>
                    <a:pt x="88" y="545"/>
                  </a:lnTo>
                  <a:lnTo>
                    <a:pt x="141" y="545"/>
                  </a:lnTo>
                  <a:lnTo>
                    <a:pt x="159" y="545"/>
                  </a:lnTo>
                  <a:lnTo>
                    <a:pt x="159" y="527"/>
                  </a:lnTo>
                  <a:lnTo>
                    <a:pt x="159" y="475"/>
                  </a:lnTo>
                  <a:lnTo>
                    <a:pt x="211" y="492"/>
                  </a:lnTo>
                  <a:lnTo>
                    <a:pt x="194" y="457"/>
                  </a:lnTo>
                  <a:lnTo>
                    <a:pt x="194" y="440"/>
                  </a:lnTo>
                  <a:lnTo>
                    <a:pt x="211" y="457"/>
                  </a:lnTo>
                  <a:lnTo>
                    <a:pt x="229" y="475"/>
                  </a:lnTo>
                  <a:lnTo>
                    <a:pt x="246" y="457"/>
                  </a:lnTo>
                  <a:lnTo>
                    <a:pt x="246" y="440"/>
                  </a:lnTo>
                  <a:lnTo>
                    <a:pt x="246" y="422"/>
                  </a:lnTo>
                  <a:lnTo>
                    <a:pt x="246" y="404"/>
                  </a:lnTo>
                  <a:lnTo>
                    <a:pt x="282" y="422"/>
                  </a:lnTo>
                  <a:lnTo>
                    <a:pt x="299" y="422"/>
                  </a:lnTo>
                  <a:lnTo>
                    <a:pt x="317" y="387"/>
                  </a:lnTo>
                  <a:lnTo>
                    <a:pt x="334" y="352"/>
                  </a:lnTo>
                  <a:lnTo>
                    <a:pt x="352" y="352"/>
                  </a:lnTo>
                  <a:lnTo>
                    <a:pt x="369" y="369"/>
                  </a:lnTo>
                  <a:lnTo>
                    <a:pt x="387" y="352"/>
                  </a:lnTo>
                  <a:lnTo>
                    <a:pt x="405" y="334"/>
                  </a:lnTo>
                  <a:lnTo>
                    <a:pt x="422" y="334"/>
                  </a:lnTo>
                  <a:lnTo>
                    <a:pt x="475" y="334"/>
                  </a:lnTo>
                  <a:lnTo>
                    <a:pt x="475" y="299"/>
                  </a:lnTo>
                  <a:lnTo>
                    <a:pt x="492" y="281"/>
                  </a:lnTo>
                  <a:lnTo>
                    <a:pt x="598" y="264"/>
                  </a:lnTo>
                  <a:lnTo>
                    <a:pt x="721" y="229"/>
                  </a:lnTo>
                  <a:lnTo>
                    <a:pt x="879" y="229"/>
                  </a:lnTo>
                  <a:lnTo>
                    <a:pt x="984" y="176"/>
                  </a:lnTo>
                  <a:lnTo>
                    <a:pt x="1037" y="141"/>
                  </a:lnTo>
                  <a:lnTo>
                    <a:pt x="1055" y="71"/>
                  </a:lnTo>
                  <a:lnTo>
                    <a:pt x="1037" y="36"/>
                  </a:lnTo>
                  <a:lnTo>
                    <a:pt x="1002" y="18"/>
                  </a:lnTo>
                  <a:lnTo>
                    <a:pt x="967" y="0"/>
                  </a:lnTo>
                  <a:lnTo>
                    <a:pt x="949" y="18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15"/>
            <p:cNvSpPr>
              <a:spLocks/>
            </p:cNvSpPr>
            <p:nvPr/>
          </p:nvSpPr>
          <p:spPr bwMode="auto">
            <a:xfrm>
              <a:off x="1402630" y="3211566"/>
              <a:ext cx="276437" cy="457752"/>
            </a:xfrm>
            <a:custGeom>
              <a:avLst/>
              <a:gdLst>
                <a:gd name="T0" fmla="*/ 333 w 456"/>
                <a:gd name="T1" fmla="*/ 0 h 755"/>
                <a:gd name="T2" fmla="*/ 333 w 456"/>
                <a:gd name="T3" fmla="*/ 0 h 755"/>
                <a:gd name="T4" fmla="*/ 245 w 456"/>
                <a:gd name="T5" fmla="*/ 88 h 755"/>
                <a:gd name="T6" fmla="*/ 245 w 456"/>
                <a:gd name="T7" fmla="*/ 123 h 755"/>
                <a:gd name="T8" fmla="*/ 210 w 456"/>
                <a:gd name="T9" fmla="*/ 158 h 755"/>
                <a:gd name="T10" fmla="*/ 140 w 456"/>
                <a:gd name="T11" fmla="*/ 175 h 755"/>
                <a:gd name="T12" fmla="*/ 140 w 456"/>
                <a:gd name="T13" fmla="*/ 193 h 755"/>
                <a:gd name="T14" fmla="*/ 140 w 456"/>
                <a:gd name="T15" fmla="*/ 246 h 755"/>
                <a:gd name="T16" fmla="*/ 87 w 456"/>
                <a:gd name="T17" fmla="*/ 281 h 755"/>
                <a:gd name="T18" fmla="*/ 70 w 456"/>
                <a:gd name="T19" fmla="*/ 298 h 755"/>
                <a:gd name="T20" fmla="*/ 35 w 456"/>
                <a:gd name="T21" fmla="*/ 404 h 755"/>
                <a:gd name="T22" fmla="*/ 0 w 456"/>
                <a:gd name="T23" fmla="*/ 421 h 755"/>
                <a:gd name="T24" fmla="*/ 0 w 456"/>
                <a:gd name="T25" fmla="*/ 456 h 755"/>
                <a:gd name="T26" fmla="*/ 17 w 456"/>
                <a:gd name="T27" fmla="*/ 509 h 755"/>
                <a:gd name="T28" fmla="*/ 35 w 456"/>
                <a:gd name="T29" fmla="*/ 544 h 755"/>
                <a:gd name="T30" fmla="*/ 17 w 456"/>
                <a:gd name="T31" fmla="*/ 579 h 755"/>
                <a:gd name="T32" fmla="*/ 0 w 456"/>
                <a:gd name="T33" fmla="*/ 597 h 755"/>
                <a:gd name="T34" fmla="*/ 87 w 456"/>
                <a:gd name="T35" fmla="*/ 667 h 755"/>
                <a:gd name="T36" fmla="*/ 87 w 456"/>
                <a:gd name="T37" fmla="*/ 720 h 755"/>
                <a:gd name="T38" fmla="*/ 105 w 456"/>
                <a:gd name="T39" fmla="*/ 737 h 755"/>
                <a:gd name="T40" fmla="*/ 140 w 456"/>
                <a:gd name="T41" fmla="*/ 720 h 755"/>
                <a:gd name="T42" fmla="*/ 158 w 456"/>
                <a:gd name="T43" fmla="*/ 737 h 755"/>
                <a:gd name="T44" fmla="*/ 175 w 456"/>
                <a:gd name="T45" fmla="*/ 755 h 755"/>
                <a:gd name="T46" fmla="*/ 245 w 456"/>
                <a:gd name="T47" fmla="*/ 702 h 755"/>
                <a:gd name="T48" fmla="*/ 263 w 456"/>
                <a:gd name="T49" fmla="*/ 667 h 755"/>
                <a:gd name="T50" fmla="*/ 263 w 456"/>
                <a:gd name="T51" fmla="*/ 632 h 755"/>
                <a:gd name="T52" fmla="*/ 281 w 456"/>
                <a:gd name="T53" fmla="*/ 562 h 755"/>
                <a:gd name="T54" fmla="*/ 316 w 456"/>
                <a:gd name="T55" fmla="*/ 562 h 755"/>
                <a:gd name="T56" fmla="*/ 316 w 456"/>
                <a:gd name="T57" fmla="*/ 527 h 755"/>
                <a:gd name="T58" fmla="*/ 368 w 456"/>
                <a:gd name="T59" fmla="*/ 456 h 755"/>
                <a:gd name="T60" fmla="*/ 421 w 456"/>
                <a:gd name="T61" fmla="*/ 386 h 755"/>
                <a:gd name="T62" fmla="*/ 404 w 456"/>
                <a:gd name="T63" fmla="*/ 351 h 755"/>
                <a:gd name="T64" fmla="*/ 404 w 456"/>
                <a:gd name="T65" fmla="*/ 316 h 755"/>
                <a:gd name="T66" fmla="*/ 456 w 456"/>
                <a:gd name="T67" fmla="*/ 263 h 755"/>
                <a:gd name="T68" fmla="*/ 439 w 456"/>
                <a:gd name="T69" fmla="*/ 211 h 755"/>
                <a:gd name="T70" fmla="*/ 456 w 456"/>
                <a:gd name="T71" fmla="*/ 140 h 755"/>
                <a:gd name="T72" fmla="*/ 456 w 456"/>
                <a:gd name="T73" fmla="*/ 105 h 755"/>
                <a:gd name="T74" fmla="*/ 439 w 456"/>
                <a:gd name="T75" fmla="*/ 70 h 755"/>
                <a:gd name="T76" fmla="*/ 421 w 456"/>
                <a:gd name="T77" fmla="*/ 35 h 755"/>
                <a:gd name="T78" fmla="*/ 439 w 456"/>
                <a:gd name="T79" fmla="*/ 0 h 755"/>
                <a:gd name="T80" fmla="*/ 421 w 456"/>
                <a:gd name="T81" fmla="*/ 0 h 75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56"/>
                <a:gd name="T124" fmla="*/ 0 h 755"/>
                <a:gd name="T125" fmla="*/ 456 w 456"/>
                <a:gd name="T126" fmla="*/ 755 h 75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56" h="755">
                  <a:moveTo>
                    <a:pt x="421" y="0"/>
                  </a:moveTo>
                  <a:lnTo>
                    <a:pt x="333" y="0"/>
                  </a:lnTo>
                  <a:lnTo>
                    <a:pt x="298" y="52"/>
                  </a:lnTo>
                  <a:lnTo>
                    <a:pt x="245" y="88"/>
                  </a:lnTo>
                  <a:lnTo>
                    <a:pt x="245" y="123"/>
                  </a:lnTo>
                  <a:lnTo>
                    <a:pt x="210" y="158"/>
                  </a:lnTo>
                  <a:lnTo>
                    <a:pt x="175" y="158"/>
                  </a:lnTo>
                  <a:lnTo>
                    <a:pt x="140" y="175"/>
                  </a:lnTo>
                  <a:lnTo>
                    <a:pt x="140" y="193"/>
                  </a:lnTo>
                  <a:lnTo>
                    <a:pt x="140" y="211"/>
                  </a:lnTo>
                  <a:lnTo>
                    <a:pt x="140" y="246"/>
                  </a:lnTo>
                  <a:lnTo>
                    <a:pt x="87" y="281"/>
                  </a:lnTo>
                  <a:lnTo>
                    <a:pt x="70" y="298"/>
                  </a:lnTo>
                  <a:lnTo>
                    <a:pt x="52" y="333"/>
                  </a:lnTo>
                  <a:lnTo>
                    <a:pt x="35" y="404"/>
                  </a:lnTo>
                  <a:lnTo>
                    <a:pt x="0" y="421"/>
                  </a:lnTo>
                  <a:lnTo>
                    <a:pt x="0" y="456"/>
                  </a:lnTo>
                  <a:lnTo>
                    <a:pt x="0" y="492"/>
                  </a:lnTo>
                  <a:lnTo>
                    <a:pt x="17" y="509"/>
                  </a:lnTo>
                  <a:lnTo>
                    <a:pt x="35" y="527"/>
                  </a:lnTo>
                  <a:lnTo>
                    <a:pt x="35" y="544"/>
                  </a:lnTo>
                  <a:lnTo>
                    <a:pt x="17" y="579"/>
                  </a:lnTo>
                  <a:lnTo>
                    <a:pt x="0" y="597"/>
                  </a:lnTo>
                  <a:lnTo>
                    <a:pt x="35" y="632"/>
                  </a:lnTo>
                  <a:lnTo>
                    <a:pt x="87" y="667"/>
                  </a:lnTo>
                  <a:lnTo>
                    <a:pt x="87" y="720"/>
                  </a:lnTo>
                  <a:lnTo>
                    <a:pt x="105" y="737"/>
                  </a:lnTo>
                  <a:lnTo>
                    <a:pt x="140" y="720"/>
                  </a:lnTo>
                  <a:lnTo>
                    <a:pt x="158" y="737"/>
                  </a:lnTo>
                  <a:lnTo>
                    <a:pt x="175" y="755"/>
                  </a:lnTo>
                  <a:lnTo>
                    <a:pt x="228" y="720"/>
                  </a:lnTo>
                  <a:lnTo>
                    <a:pt x="245" y="702"/>
                  </a:lnTo>
                  <a:lnTo>
                    <a:pt x="263" y="667"/>
                  </a:lnTo>
                  <a:lnTo>
                    <a:pt x="263" y="632"/>
                  </a:lnTo>
                  <a:lnTo>
                    <a:pt x="281" y="562"/>
                  </a:lnTo>
                  <a:lnTo>
                    <a:pt x="316" y="562"/>
                  </a:lnTo>
                  <a:lnTo>
                    <a:pt x="316" y="527"/>
                  </a:lnTo>
                  <a:lnTo>
                    <a:pt x="333" y="492"/>
                  </a:lnTo>
                  <a:lnTo>
                    <a:pt x="368" y="456"/>
                  </a:lnTo>
                  <a:lnTo>
                    <a:pt x="404" y="421"/>
                  </a:lnTo>
                  <a:lnTo>
                    <a:pt x="421" y="386"/>
                  </a:lnTo>
                  <a:lnTo>
                    <a:pt x="404" y="351"/>
                  </a:lnTo>
                  <a:lnTo>
                    <a:pt x="404" y="316"/>
                  </a:lnTo>
                  <a:lnTo>
                    <a:pt x="421" y="281"/>
                  </a:lnTo>
                  <a:lnTo>
                    <a:pt x="456" y="263"/>
                  </a:lnTo>
                  <a:lnTo>
                    <a:pt x="439" y="211"/>
                  </a:lnTo>
                  <a:lnTo>
                    <a:pt x="456" y="140"/>
                  </a:lnTo>
                  <a:lnTo>
                    <a:pt x="456" y="105"/>
                  </a:lnTo>
                  <a:lnTo>
                    <a:pt x="439" y="88"/>
                  </a:lnTo>
                  <a:lnTo>
                    <a:pt x="439" y="70"/>
                  </a:lnTo>
                  <a:lnTo>
                    <a:pt x="421" y="35"/>
                  </a:lnTo>
                  <a:lnTo>
                    <a:pt x="439" y="0"/>
                  </a:lnTo>
                  <a:lnTo>
                    <a:pt x="421" y="0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17"/>
            <p:cNvSpPr>
              <a:spLocks/>
            </p:cNvSpPr>
            <p:nvPr/>
          </p:nvSpPr>
          <p:spPr bwMode="auto">
            <a:xfrm>
              <a:off x="6503978" y="4606649"/>
              <a:ext cx="862652" cy="1330816"/>
            </a:xfrm>
            <a:custGeom>
              <a:avLst/>
              <a:gdLst>
                <a:gd name="T0" fmla="*/ 720 w 1423"/>
                <a:gd name="T1" fmla="*/ 0 h 2195"/>
                <a:gd name="T2" fmla="*/ 878 w 1423"/>
                <a:gd name="T3" fmla="*/ 210 h 2195"/>
                <a:gd name="T4" fmla="*/ 913 w 1423"/>
                <a:gd name="T5" fmla="*/ 263 h 2195"/>
                <a:gd name="T6" fmla="*/ 983 w 1423"/>
                <a:gd name="T7" fmla="*/ 316 h 2195"/>
                <a:gd name="T8" fmla="*/ 1019 w 1423"/>
                <a:gd name="T9" fmla="*/ 351 h 2195"/>
                <a:gd name="T10" fmla="*/ 1036 w 1423"/>
                <a:gd name="T11" fmla="*/ 404 h 2195"/>
                <a:gd name="T12" fmla="*/ 1124 w 1423"/>
                <a:gd name="T13" fmla="*/ 351 h 2195"/>
                <a:gd name="T14" fmla="*/ 1177 w 1423"/>
                <a:gd name="T15" fmla="*/ 421 h 2195"/>
                <a:gd name="T16" fmla="*/ 1212 w 1423"/>
                <a:gd name="T17" fmla="*/ 386 h 2195"/>
                <a:gd name="T18" fmla="*/ 1282 w 1423"/>
                <a:gd name="T19" fmla="*/ 491 h 2195"/>
                <a:gd name="T20" fmla="*/ 1317 w 1423"/>
                <a:gd name="T21" fmla="*/ 562 h 2195"/>
                <a:gd name="T22" fmla="*/ 1335 w 1423"/>
                <a:gd name="T23" fmla="*/ 614 h 2195"/>
                <a:gd name="T24" fmla="*/ 1335 w 1423"/>
                <a:gd name="T25" fmla="*/ 667 h 2195"/>
                <a:gd name="T26" fmla="*/ 1405 w 1423"/>
                <a:gd name="T27" fmla="*/ 755 h 2195"/>
                <a:gd name="T28" fmla="*/ 1317 w 1423"/>
                <a:gd name="T29" fmla="*/ 878 h 2195"/>
                <a:gd name="T30" fmla="*/ 1282 w 1423"/>
                <a:gd name="T31" fmla="*/ 1036 h 2195"/>
                <a:gd name="T32" fmla="*/ 1405 w 1423"/>
                <a:gd name="T33" fmla="*/ 1053 h 2195"/>
                <a:gd name="T34" fmla="*/ 1370 w 1423"/>
                <a:gd name="T35" fmla="*/ 1282 h 2195"/>
                <a:gd name="T36" fmla="*/ 1405 w 1423"/>
                <a:gd name="T37" fmla="*/ 1528 h 2195"/>
                <a:gd name="T38" fmla="*/ 1370 w 1423"/>
                <a:gd name="T39" fmla="*/ 1633 h 2195"/>
                <a:gd name="T40" fmla="*/ 1212 w 1423"/>
                <a:gd name="T41" fmla="*/ 1756 h 2195"/>
                <a:gd name="T42" fmla="*/ 1054 w 1423"/>
                <a:gd name="T43" fmla="*/ 1721 h 2195"/>
                <a:gd name="T44" fmla="*/ 948 w 1423"/>
                <a:gd name="T45" fmla="*/ 1774 h 2195"/>
                <a:gd name="T46" fmla="*/ 773 w 1423"/>
                <a:gd name="T47" fmla="*/ 1756 h 2195"/>
                <a:gd name="T48" fmla="*/ 650 w 1423"/>
                <a:gd name="T49" fmla="*/ 1949 h 2195"/>
                <a:gd name="T50" fmla="*/ 316 w 1423"/>
                <a:gd name="T51" fmla="*/ 2178 h 2195"/>
                <a:gd name="T52" fmla="*/ 35 w 1423"/>
                <a:gd name="T53" fmla="*/ 2142 h 2195"/>
                <a:gd name="T54" fmla="*/ 17 w 1423"/>
                <a:gd name="T55" fmla="*/ 2055 h 2195"/>
                <a:gd name="T56" fmla="*/ 87 w 1423"/>
                <a:gd name="T57" fmla="*/ 1949 h 2195"/>
                <a:gd name="T58" fmla="*/ 0 w 1423"/>
                <a:gd name="T59" fmla="*/ 1914 h 2195"/>
                <a:gd name="T60" fmla="*/ 35 w 1423"/>
                <a:gd name="T61" fmla="*/ 1826 h 2195"/>
                <a:gd name="T62" fmla="*/ 52 w 1423"/>
                <a:gd name="T63" fmla="*/ 1756 h 2195"/>
                <a:gd name="T64" fmla="*/ 158 w 1423"/>
                <a:gd name="T65" fmla="*/ 1721 h 2195"/>
                <a:gd name="T66" fmla="*/ 246 w 1423"/>
                <a:gd name="T67" fmla="*/ 1686 h 2195"/>
                <a:gd name="T68" fmla="*/ 298 w 1423"/>
                <a:gd name="T69" fmla="*/ 1616 h 2195"/>
                <a:gd name="T70" fmla="*/ 404 w 1423"/>
                <a:gd name="T71" fmla="*/ 1475 h 2195"/>
                <a:gd name="T72" fmla="*/ 544 w 1423"/>
                <a:gd name="T73" fmla="*/ 1387 h 2195"/>
                <a:gd name="T74" fmla="*/ 614 w 1423"/>
                <a:gd name="T75" fmla="*/ 1282 h 2195"/>
                <a:gd name="T76" fmla="*/ 527 w 1423"/>
                <a:gd name="T77" fmla="*/ 1176 h 2195"/>
                <a:gd name="T78" fmla="*/ 544 w 1423"/>
                <a:gd name="T79" fmla="*/ 1106 h 2195"/>
                <a:gd name="T80" fmla="*/ 650 w 1423"/>
                <a:gd name="T81" fmla="*/ 913 h 2195"/>
                <a:gd name="T82" fmla="*/ 755 w 1423"/>
                <a:gd name="T83" fmla="*/ 825 h 2195"/>
                <a:gd name="T84" fmla="*/ 755 w 1423"/>
                <a:gd name="T85" fmla="*/ 737 h 2195"/>
                <a:gd name="T86" fmla="*/ 667 w 1423"/>
                <a:gd name="T87" fmla="*/ 702 h 2195"/>
                <a:gd name="T88" fmla="*/ 562 w 1423"/>
                <a:gd name="T89" fmla="*/ 597 h 2195"/>
                <a:gd name="T90" fmla="*/ 474 w 1423"/>
                <a:gd name="T91" fmla="*/ 456 h 2195"/>
                <a:gd name="T92" fmla="*/ 509 w 1423"/>
                <a:gd name="T93" fmla="*/ 404 h 2195"/>
                <a:gd name="T94" fmla="*/ 562 w 1423"/>
                <a:gd name="T95" fmla="*/ 421 h 2195"/>
                <a:gd name="T96" fmla="*/ 667 w 1423"/>
                <a:gd name="T97" fmla="*/ 351 h 2195"/>
                <a:gd name="T98" fmla="*/ 667 w 1423"/>
                <a:gd name="T99" fmla="*/ 281 h 2195"/>
                <a:gd name="T100" fmla="*/ 579 w 1423"/>
                <a:gd name="T101" fmla="*/ 228 h 2195"/>
                <a:gd name="T102" fmla="*/ 562 w 1423"/>
                <a:gd name="T103" fmla="*/ 70 h 2195"/>
                <a:gd name="T104" fmla="*/ 667 w 1423"/>
                <a:gd name="T105" fmla="*/ 52 h 2195"/>
                <a:gd name="T106" fmla="*/ 737 w 1423"/>
                <a:gd name="T107" fmla="*/ 0 h 219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423"/>
                <a:gd name="T163" fmla="*/ 0 h 2195"/>
                <a:gd name="T164" fmla="*/ 1423 w 1423"/>
                <a:gd name="T165" fmla="*/ 2195 h 219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423" h="2195">
                  <a:moveTo>
                    <a:pt x="720" y="0"/>
                  </a:moveTo>
                  <a:lnTo>
                    <a:pt x="720" y="0"/>
                  </a:lnTo>
                  <a:lnTo>
                    <a:pt x="755" y="52"/>
                  </a:lnTo>
                  <a:lnTo>
                    <a:pt x="790" y="123"/>
                  </a:lnTo>
                  <a:lnTo>
                    <a:pt x="843" y="193"/>
                  </a:lnTo>
                  <a:lnTo>
                    <a:pt x="878" y="210"/>
                  </a:lnTo>
                  <a:lnTo>
                    <a:pt x="913" y="228"/>
                  </a:lnTo>
                  <a:lnTo>
                    <a:pt x="913" y="246"/>
                  </a:lnTo>
                  <a:lnTo>
                    <a:pt x="913" y="263"/>
                  </a:lnTo>
                  <a:lnTo>
                    <a:pt x="931" y="298"/>
                  </a:lnTo>
                  <a:lnTo>
                    <a:pt x="966" y="298"/>
                  </a:lnTo>
                  <a:lnTo>
                    <a:pt x="983" y="316"/>
                  </a:lnTo>
                  <a:lnTo>
                    <a:pt x="1019" y="333"/>
                  </a:lnTo>
                  <a:lnTo>
                    <a:pt x="1019" y="351"/>
                  </a:lnTo>
                  <a:lnTo>
                    <a:pt x="1001" y="386"/>
                  </a:lnTo>
                  <a:lnTo>
                    <a:pt x="1019" y="404"/>
                  </a:lnTo>
                  <a:lnTo>
                    <a:pt x="1036" y="404"/>
                  </a:lnTo>
                  <a:lnTo>
                    <a:pt x="1071" y="386"/>
                  </a:lnTo>
                  <a:lnTo>
                    <a:pt x="1106" y="351"/>
                  </a:lnTo>
                  <a:lnTo>
                    <a:pt x="1124" y="351"/>
                  </a:lnTo>
                  <a:lnTo>
                    <a:pt x="1141" y="351"/>
                  </a:lnTo>
                  <a:lnTo>
                    <a:pt x="1141" y="386"/>
                  </a:lnTo>
                  <a:lnTo>
                    <a:pt x="1177" y="421"/>
                  </a:lnTo>
                  <a:lnTo>
                    <a:pt x="1194" y="421"/>
                  </a:lnTo>
                  <a:lnTo>
                    <a:pt x="1212" y="404"/>
                  </a:lnTo>
                  <a:lnTo>
                    <a:pt x="1212" y="386"/>
                  </a:lnTo>
                  <a:lnTo>
                    <a:pt x="1229" y="404"/>
                  </a:lnTo>
                  <a:lnTo>
                    <a:pt x="1264" y="439"/>
                  </a:lnTo>
                  <a:lnTo>
                    <a:pt x="1282" y="491"/>
                  </a:lnTo>
                  <a:lnTo>
                    <a:pt x="1282" y="527"/>
                  </a:lnTo>
                  <a:lnTo>
                    <a:pt x="1282" y="544"/>
                  </a:lnTo>
                  <a:lnTo>
                    <a:pt x="1317" y="562"/>
                  </a:lnTo>
                  <a:lnTo>
                    <a:pt x="1352" y="597"/>
                  </a:lnTo>
                  <a:lnTo>
                    <a:pt x="1335" y="614"/>
                  </a:lnTo>
                  <a:lnTo>
                    <a:pt x="1300" y="632"/>
                  </a:lnTo>
                  <a:lnTo>
                    <a:pt x="1335" y="667"/>
                  </a:lnTo>
                  <a:lnTo>
                    <a:pt x="1352" y="685"/>
                  </a:lnTo>
                  <a:lnTo>
                    <a:pt x="1387" y="720"/>
                  </a:lnTo>
                  <a:lnTo>
                    <a:pt x="1405" y="755"/>
                  </a:lnTo>
                  <a:lnTo>
                    <a:pt x="1423" y="772"/>
                  </a:lnTo>
                  <a:lnTo>
                    <a:pt x="1370" y="808"/>
                  </a:lnTo>
                  <a:lnTo>
                    <a:pt x="1317" y="878"/>
                  </a:lnTo>
                  <a:lnTo>
                    <a:pt x="1282" y="948"/>
                  </a:lnTo>
                  <a:lnTo>
                    <a:pt x="1264" y="1018"/>
                  </a:lnTo>
                  <a:lnTo>
                    <a:pt x="1282" y="1036"/>
                  </a:lnTo>
                  <a:lnTo>
                    <a:pt x="1300" y="1036"/>
                  </a:lnTo>
                  <a:lnTo>
                    <a:pt x="1352" y="1036"/>
                  </a:lnTo>
                  <a:lnTo>
                    <a:pt x="1387" y="1036"/>
                  </a:lnTo>
                  <a:lnTo>
                    <a:pt x="1405" y="1053"/>
                  </a:lnTo>
                  <a:lnTo>
                    <a:pt x="1405" y="1089"/>
                  </a:lnTo>
                  <a:lnTo>
                    <a:pt x="1405" y="1159"/>
                  </a:lnTo>
                  <a:lnTo>
                    <a:pt x="1370" y="1282"/>
                  </a:lnTo>
                  <a:lnTo>
                    <a:pt x="1370" y="1422"/>
                  </a:lnTo>
                  <a:lnTo>
                    <a:pt x="1387" y="1475"/>
                  </a:lnTo>
                  <a:lnTo>
                    <a:pt x="1405" y="1528"/>
                  </a:lnTo>
                  <a:lnTo>
                    <a:pt x="1423" y="1563"/>
                  </a:lnTo>
                  <a:lnTo>
                    <a:pt x="1423" y="1580"/>
                  </a:lnTo>
                  <a:lnTo>
                    <a:pt x="1370" y="1633"/>
                  </a:lnTo>
                  <a:lnTo>
                    <a:pt x="1335" y="1703"/>
                  </a:lnTo>
                  <a:lnTo>
                    <a:pt x="1282" y="1738"/>
                  </a:lnTo>
                  <a:lnTo>
                    <a:pt x="1247" y="1756"/>
                  </a:lnTo>
                  <a:lnTo>
                    <a:pt x="1212" y="1756"/>
                  </a:lnTo>
                  <a:lnTo>
                    <a:pt x="1124" y="1738"/>
                  </a:lnTo>
                  <a:lnTo>
                    <a:pt x="1054" y="1721"/>
                  </a:lnTo>
                  <a:lnTo>
                    <a:pt x="1036" y="1721"/>
                  </a:lnTo>
                  <a:lnTo>
                    <a:pt x="1001" y="1738"/>
                  </a:lnTo>
                  <a:lnTo>
                    <a:pt x="948" y="1774"/>
                  </a:lnTo>
                  <a:lnTo>
                    <a:pt x="896" y="1774"/>
                  </a:lnTo>
                  <a:lnTo>
                    <a:pt x="843" y="1756"/>
                  </a:lnTo>
                  <a:lnTo>
                    <a:pt x="790" y="1756"/>
                  </a:lnTo>
                  <a:lnTo>
                    <a:pt x="773" y="1756"/>
                  </a:lnTo>
                  <a:lnTo>
                    <a:pt x="755" y="1774"/>
                  </a:lnTo>
                  <a:lnTo>
                    <a:pt x="702" y="1879"/>
                  </a:lnTo>
                  <a:lnTo>
                    <a:pt x="650" y="1949"/>
                  </a:lnTo>
                  <a:lnTo>
                    <a:pt x="579" y="2020"/>
                  </a:lnTo>
                  <a:lnTo>
                    <a:pt x="509" y="2090"/>
                  </a:lnTo>
                  <a:lnTo>
                    <a:pt x="421" y="2142"/>
                  </a:lnTo>
                  <a:lnTo>
                    <a:pt x="316" y="2178"/>
                  </a:lnTo>
                  <a:lnTo>
                    <a:pt x="193" y="2195"/>
                  </a:lnTo>
                  <a:lnTo>
                    <a:pt x="87" y="2178"/>
                  </a:lnTo>
                  <a:lnTo>
                    <a:pt x="35" y="2142"/>
                  </a:lnTo>
                  <a:lnTo>
                    <a:pt x="0" y="2107"/>
                  </a:lnTo>
                  <a:lnTo>
                    <a:pt x="0" y="2090"/>
                  </a:lnTo>
                  <a:lnTo>
                    <a:pt x="17" y="2055"/>
                  </a:lnTo>
                  <a:lnTo>
                    <a:pt x="35" y="2020"/>
                  </a:lnTo>
                  <a:lnTo>
                    <a:pt x="70" y="2002"/>
                  </a:lnTo>
                  <a:lnTo>
                    <a:pt x="87" y="1949"/>
                  </a:lnTo>
                  <a:lnTo>
                    <a:pt x="35" y="1949"/>
                  </a:lnTo>
                  <a:lnTo>
                    <a:pt x="17" y="1932"/>
                  </a:lnTo>
                  <a:lnTo>
                    <a:pt x="0" y="1914"/>
                  </a:lnTo>
                  <a:lnTo>
                    <a:pt x="17" y="1879"/>
                  </a:lnTo>
                  <a:lnTo>
                    <a:pt x="52" y="1826"/>
                  </a:lnTo>
                  <a:lnTo>
                    <a:pt x="35" y="1826"/>
                  </a:lnTo>
                  <a:lnTo>
                    <a:pt x="17" y="1791"/>
                  </a:lnTo>
                  <a:lnTo>
                    <a:pt x="17" y="1774"/>
                  </a:lnTo>
                  <a:lnTo>
                    <a:pt x="52" y="1756"/>
                  </a:lnTo>
                  <a:lnTo>
                    <a:pt x="105" y="1756"/>
                  </a:lnTo>
                  <a:lnTo>
                    <a:pt x="140" y="1738"/>
                  </a:lnTo>
                  <a:lnTo>
                    <a:pt x="158" y="1721"/>
                  </a:lnTo>
                  <a:lnTo>
                    <a:pt x="175" y="1703"/>
                  </a:lnTo>
                  <a:lnTo>
                    <a:pt x="210" y="1686"/>
                  </a:lnTo>
                  <a:lnTo>
                    <a:pt x="246" y="1686"/>
                  </a:lnTo>
                  <a:lnTo>
                    <a:pt x="281" y="1686"/>
                  </a:lnTo>
                  <a:lnTo>
                    <a:pt x="298" y="1651"/>
                  </a:lnTo>
                  <a:lnTo>
                    <a:pt x="298" y="1616"/>
                  </a:lnTo>
                  <a:lnTo>
                    <a:pt x="368" y="1563"/>
                  </a:lnTo>
                  <a:lnTo>
                    <a:pt x="386" y="1528"/>
                  </a:lnTo>
                  <a:lnTo>
                    <a:pt x="404" y="1475"/>
                  </a:lnTo>
                  <a:lnTo>
                    <a:pt x="439" y="1457"/>
                  </a:lnTo>
                  <a:lnTo>
                    <a:pt x="491" y="1440"/>
                  </a:lnTo>
                  <a:lnTo>
                    <a:pt x="544" y="1387"/>
                  </a:lnTo>
                  <a:lnTo>
                    <a:pt x="579" y="1335"/>
                  </a:lnTo>
                  <a:lnTo>
                    <a:pt x="597" y="1317"/>
                  </a:lnTo>
                  <a:lnTo>
                    <a:pt x="614" y="1282"/>
                  </a:lnTo>
                  <a:lnTo>
                    <a:pt x="597" y="1229"/>
                  </a:lnTo>
                  <a:lnTo>
                    <a:pt x="562" y="1212"/>
                  </a:lnTo>
                  <a:lnTo>
                    <a:pt x="527" y="1176"/>
                  </a:lnTo>
                  <a:lnTo>
                    <a:pt x="509" y="1141"/>
                  </a:lnTo>
                  <a:lnTo>
                    <a:pt x="527" y="1124"/>
                  </a:lnTo>
                  <a:lnTo>
                    <a:pt x="544" y="1106"/>
                  </a:lnTo>
                  <a:lnTo>
                    <a:pt x="579" y="1089"/>
                  </a:lnTo>
                  <a:lnTo>
                    <a:pt x="632" y="966"/>
                  </a:lnTo>
                  <a:lnTo>
                    <a:pt x="650" y="913"/>
                  </a:lnTo>
                  <a:lnTo>
                    <a:pt x="702" y="878"/>
                  </a:lnTo>
                  <a:lnTo>
                    <a:pt x="737" y="843"/>
                  </a:lnTo>
                  <a:lnTo>
                    <a:pt x="755" y="825"/>
                  </a:lnTo>
                  <a:lnTo>
                    <a:pt x="773" y="790"/>
                  </a:lnTo>
                  <a:lnTo>
                    <a:pt x="773" y="755"/>
                  </a:lnTo>
                  <a:lnTo>
                    <a:pt x="755" y="737"/>
                  </a:lnTo>
                  <a:lnTo>
                    <a:pt x="702" y="720"/>
                  </a:lnTo>
                  <a:lnTo>
                    <a:pt x="685" y="702"/>
                  </a:lnTo>
                  <a:lnTo>
                    <a:pt x="667" y="702"/>
                  </a:lnTo>
                  <a:lnTo>
                    <a:pt x="614" y="685"/>
                  </a:lnTo>
                  <a:lnTo>
                    <a:pt x="562" y="597"/>
                  </a:lnTo>
                  <a:lnTo>
                    <a:pt x="509" y="491"/>
                  </a:lnTo>
                  <a:lnTo>
                    <a:pt x="491" y="474"/>
                  </a:lnTo>
                  <a:lnTo>
                    <a:pt x="474" y="456"/>
                  </a:lnTo>
                  <a:lnTo>
                    <a:pt x="474" y="421"/>
                  </a:lnTo>
                  <a:lnTo>
                    <a:pt x="491" y="404"/>
                  </a:lnTo>
                  <a:lnTo>
                    <a:pt x="509" y="404"/>
                  </a:lnTo>
                  <a:lnTo>
                    <a:pt x="527" y="421"/>
                  </a:lnTo>
                  <a:lnTo>
                    <a:pt x="562" y="421"/>
                  </a:lnTo>
                  <a:lnTo>
                    <a:pt x="597" y="421"/>
                  </a:lnTo>
                  <a:lnTo>
                    <a:pt x="614" y="386"/>
                  </a:lnTo>
                  <a:lnTo>
                    <a:pt x="650" y="351"/>
                  </a:lnTo>
                  <a:lnTo>
                    <a:pt x="667" y="351"/>
                  </a:lnTo>
                  <a:lnTo>
                    <a:pt x="650" y="298"/>
                  </a:lnTo>
                  <a:lnTo>
                    <a:pt x="667" y="281"/>
                  </a:lnTo>
                  <a:lnTo>
                    <a:pt x="667" y="263"/>
                  </a:lnTo>
                  <a:lnTo>
                    <a:pt x="597" y="246"/>
                  </a:lnTo>
                  <a:lnTo>
                    <a:pt x="579" y="228"/>
                  </a:lnTo>
                  <a:lnTo>
                    <a:pt x="562" y="193"/>
                  </a:lnTo>
                  <a:lnTo>
                    <a:pt x="562" y="70"/>
                  </a:lnTo>
                  <a:lnTo>
                    <a:pt x="579" y="52"/>
                  </a:lnTo>
                  <a:lnTo>
                    <a:pt x="597" y="52"/>
                  </a:lnTo>
                  <a:lnTo>
                    <a:pt x="667" y="52"/>
                  </a:lnTo>
                  <a:lnTo>
                    <a:pt x="702" y="35"/>
                  </a:lnTo>
                  <a:lnTo>
                    <a:pt x="737" y="0"/>
                  </a:lnTo>
                  <a:lnTo>
                    <a:pt x="720" y="0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18"/>
            <p:cNvSpPr>
              <a:spLocks/>
            </p:cNvSpPr>
            <p:nvPr/>
          </p:nvSpPr>
          <p:spPr bwMode="auto">
            <a:xfrm>
              <a:off x="3766891" y="4808545"/>
              <a:ext cx="425567" cy="660254"/>
            </a:xfrm>
            <a:custGeom>
              <a:avLst/>
              <a:gdLst>
                <a:gd name="T0" fmla="*/ 667 w 702"/>
                <a:gd name="T1" fmla="*/ 88 h 1089"/>
                <a:gd name="T2" fmla="*/ 650 w 702"/>
                <a:gd name="T3" fmla="*/ 141 h 1089"/>
                <a:gd name="T4" fmla="*/ 632 w 702"/>
                <a:gd name="T5" fmla="*/ 176 h 1089"/>
                <a:gd name="T6" fmla="*/ 685 w 702"/>
                <a:gd name="T7" fmla="*/ 264 h 1089"/>
                <a:gd name="T8" fmla="*/ 685 w 702"/>
                <a:gd name="T9" fmla="*/ 352 h 1089"/>
                <a:gd name="T10" fmla="*/ 702 w 702"/>
                <a:gd name="T11" fmla="*/ 422 h 1089"/>
                <a:gd name="T12" fmla="*/ 667 w 702"/>
                <a:gd name="T13" fmla="*/ 510 h 1089"/>
                <a:gd name="T14" fmla="*/ 685 w 702"/>
                <a:gd name="T15" fmla="*/ 580 h 1089"/>
                <a:gd name="T16" fmla="*/ 650 w 702"/>
                <a:gd name="T17" fmla="*/ 598 h 1089"/>
                <a:gd name="T18" fmla="*/ 597 w 702"/>
                <a:gd name="T19" fmla="*/ 615 h 1089"/>
                <a:gd name="T20" fmla="*/ 562 w 702"/>
                <a:gd name="T21" fmla="*/ 703 h 1089"/>
                <a:gd name="T22" fmla="*/ 527 w 702"/>
                <a:gd name="T23" fmla="*/ 773 h 1089"/>
                <a:gd name="T24" fmla="*/ 544 w 702"/>
                <a:gd name="T25" fmla="*/ 843 h 1089"/>
                <a:gd name="T26" fmla="*/ 562 w 702"/>
                <a:gd name="T27" fmla="*/ 914 h 1089"/>
                <a:gd name="T28" fmla="*/ 544 w 702"/>
                <a:gd name="T29" fmla="*/ 931 h 1089"/>
                <a:gd name="T30" fmla="*/ 421 w 702"/>
                <a:gd name="T31" fmla="*/ 1054 h 1089"/>
                <a:gd name="T32" fmla="*/ 333 w 702"/>
                <a:gd name="T33" fmla="*/ 1089 h 1089"/>
                <a:gd name="T34" fmla="*/ 281 w 702"/>
                <a:gd name="T35" fmla="*/ 1054 h 1089"/>
                <a:gd name="T36" fmla="*/ 263 w 702"/>
                <a:gd name="T37" fmla="*/ 1054 h 1089"/>
                <a:gd name="T38" fmla="*/ 228 w 702"/>
                <a:gd name="T39" fmla="*/ 1037 h 1089"/>
                <a:gd name="T40" fmla="*/ 281 w 702"/>
                <a:gd name="T41" fmla="*/ 1002 h 1089"/>
                <a:gd name="T42" fmla="*/ 263 w 702"/>
                <a:gd name="T43" fmla="*/ 966 h 1089"/>
                <a:gd name="T44" fmla="*/ 193 w 702"/>
                <a:gd name="T45" fmla="*/ 931 h 1089"/>
                <a:gd name="T46" fmla="*/ 175 w 702"/>
                <a:gd name="T47" fmla="*/ 949 h 1089"/>
                <a:gd name="T48" fmla="*/ 140 w 702"/>
                <a:gd name="T49" fmla="*/ 914 h 1089"/>
                <a:gd name="T50" fmla="*/ 105 w 702"/>
                <a:gd name="T51" fmla="*/ 861 h 1089"/>
                <a:gd name="T52" fmla="*/ 70 w 702"/>
                <a:gd name="T53" fmla="*/ 896 h 1089"/>
                <a:gd name="T54" fmla="*/ 0 w 702"/>
                <a:gd name="T55" fmla="*/ 843 h 1089"/>
                <a:gd name="T56" fmla="*/ 35 w 702"/>
                <a:gd name="T57" fmla="*/ 808 h 1089"/>
                <a:gd name="T58" fmla="*/ 0 w 702"/>
                <a:gd name="T59" fmla="*/ 633 h 1089"/>
                <a:gd name="T60" fmla="*/ 35 w 702"/>
                <a:gd name="T61" fmla="*/ 527 h 1089"/>
                <a:gd name="T62" fmla="*/ 52 w 702"/>
                <a:gd name="T63" fmla="*/ 492 h 1089"/>
                <a:gd name="T64" fmla="*/ 87 w 702"/>
                <a:gd name="T65" fmla="*/ 439 h 1089"/>
                <a:gd name="T66" fmla="*/ 123 w 702"/>
                <a:gd name="T67" fmla="*/ 387 h 1089"/>
                <a:gd name="T68" fmla="*/ 210 w 702"/>
                <a:gd name="T69" fmla="*/ 334 h 1089"/>
                <a:gd name="T70" fmla="*/ 193 w 702"/>
                <a:gd name="T71" fmla="*/ 264 h 1089"/>
                <a:gd name="T72" fmla="*/ 158 w 702"/>
                <a:gd name="T73" fmla="*/ 229 h 1089"/>
                <a:gd name="T74" fmla="*/ 123 w 702"/>
                <a:gd name="T75" fmla="*/ 246 h 1089"/>
                <a:gd name="T76" fmla="*/ 105 w 702"/>
                <a:gd name="T77" fmla="*/ 211 h 1089"/>
                <a:gd name="T78" fmla="*/ 140 w 702"/>
                <a:gd name="T79" fmla="*/ 141 h 1089"/>
                <a:gd name="T80" fmla="*/ 175 w 702"/>
                <a:gd name="T81" fmla="*/ 36 h 1089"/>
                <a:gd name="T82" fmla="*/ 228 w 702"/>
                <a:gd name="T83" fmla="*/ 0 h 1089"/>
                <a:gd name="T84" fmla="*/ 246 w 702"/>
                <a:gd name="T85" fmla="*/ 36 h 1089"/>
                <a:gd name="T86" fmla="*/ 228 w 702"/>
                <a:gd name="T87" fmla="*/ 71 h 1089"/>
                <a:gd name="T88" fmla="*/ 404 w 702"/>
                <a:gd name="T89" fmla="*/ 141 h 1089"/>
                <a:gd name="T90" fmla="*/ 456 w 702"/>
                <a:gd name="T91" fmla="*/ 123 h 1089"/>
                <a:gd name="T92" fmla="*/ 562 w 702"/>
                <a:gd name="T93" fmla="*/ 158 h 1089"/>
                <a:gd name="T94" fmla="*/ 632 w 702"/>
                <a:gd name="T95" fmla="*/ 106 h 1089"/>
                <a:gd name="T96" fmla="*/ 667 w 702"/>
                <a:gd name="T97" fmla="*/ 71 h 108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02"/>
                <a:gd name="T148" fmla="*/ 0 h 1089"/>
                <a:gd name="T149" fmla="*/ 702 w 702"/>
                <a:gd name="T150" fmla="*/ 1089 h 108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02" h="1089">
                  <a:moveTo>
                    <a:pt x="667" y="71"/>
                  </a:moveTo>
                  <a:lnTo>
                    <a:pt x="667" y="71"/>
                  </a:lnTo>
                  <a:lnTo>
                    <a:pt x="667" y="88"/>
                  </a:lnTo>
                  <a:lnTo>
                    <a:pt x="667" y="123"/>
                  </a:lnTo>
                  <a:lnTo>
                    <a:pt x="650" y="141"/>
                  </a:lnTo>
                  <a:lnTo>
                    <a:pt x="650" y="158"/>
                  </a:lnTo>
                  <a:lnTo>
                    <a:pt x="632" y="176"/>
                  </a:lnTo>
                  <a:lnTo>
                    <a:pt x="650" y="229"/>
                  </a:lnTo>
                  <a:lnTo>
                    <a:pt x="685" y="264"/>
                  </a:lnTo>
                  <a:lnTo>
                    <a:pt x="685" y="352"/>
                  </a:lnTo>
                  <a:lnTo>
                    <a:pt x="702" y="387"/>
                  </a:lnTo>
                  <a:lnTo>
                    <a:pt x="702" y="422"/>
                  </a:lnTo>
                  <a:lnTo>
                    <a:pt x="702" y="457"/>
                  </a:lnTo>
                  <a:lnTo>
                    <a:pt x="685" y="492"/>
                  </a:lnTo>
                  <a:lnTo>
                    <a:pt x="667" y="510"/>
                  </a:lnTo>
                  <a:lnTo>
                    <a:pt x="667" y="545"/>
                  </a:lnTo>
                  <a:lnTo>
                    <a:pt x="685" y="580"/>
                  </a:lnTo>
                  <a:lnTo>
                    <a:pt x="667" y="598"/>
                  </a:lnTo>
                  <a:lnTo>
                    <a:pt x="650" y="598"/>
                  </a:lnTo>
                  <a:lnTo>
                    <a:pt x="614" y="598"/>
                  </a:lnTo>
                  <a:lnTo>
                    <a:pt x="597" y="615"/>
                  </a:lnTo>
                  <a:lnTo>
                    <a:pt x="579" y="633"/>
                  </a:lnTo>
                  <a:lnTo>
                    <a:pt x="562" y="650"/>
                  </a:lnTo>
                  <a:lnTo>
                    <a:pt x="562" y="703"/>
                  </a:lnTo>
                  <a:lnTo>
                    <a:pt x="527" y="738"/>
                  </a:lnTo>
                  <a:lnTo>
                    <a:pt x="527" y="773"/>
                  </a:lnTo>
                  <a:lnTo>
                    <a:pt x="527" y="826"/>
                  </a:lnTo>
                  <a:lnTo>
                    <a:pt x="544" y="843"/>
                  </a:lnTo>
                  <a:lnTo>
                    <a:pt x="562" y="879"/>
                  </a:lnTo>
                  <a:lnTo>
                    <a:pt x="562" y="914"/>
                  </a:lnTo>
                  <a:lnTo>
                    <a:pt x="562" y="931"/>
                  </a:lnTo>
                  <a:lnTo>
                    <a:pt x="544" y="931"/>
                  </a:lnTo>
                  <a:lnTo>
                    <a:pt x="527" y="984"/>
                  </a:lnTo>
                  <a:lnTo>
                    <a:pt x="492" y="1019"/>
                  </a:lnTo>
                  <a:lnTo>
                    <a:pt x="421" y="1054"/>
                  </a:lnTo>
                  <a:lnTo>
                    <a:pt x="386" y="1072"/>
                  </a:lnTo>
                  <a:lnTo>
                    <a:pt x="333" y="1089"/>
                  </a:lnTo>
                  <a:lnTo>
                    <a:pt x="316" y="1072"/>
                  </a:lnTo>
                  <a:lnTo>
                    <a:pt x="281" y="1054"/>
                  </a:lnTo>
                  <a:lnTo>
                    <a:pt x="263" y="1054"/>
                  </a:lnTo>
                  <a:lnTo>
                    <a:pt x="246" y="1054"/>
                  </a:lnTo>
                  <a:lnTo>
                    <a:pt x="228" y="1037"/>
                  </a:lnTo>
                  <a:lnTo>
                    <a:pt x="246" y="1019"/>
                  </a:lnTo>
                  <a:lnTo>
                    <a:pt x="263" y="1002"/>
                  </a:lnTo>
                  <a:lnTo>
                    <a:pt x="281" y="1002"/>
                  </a:lnTo>
                  <a:lnTo>
                    <a:pt x="281" y="984"/>
                  </a:lnTo>
                  <a:lnTo>
                    <a:pt x="263" y="966"/>
                  </a:lnTo>
                  <a:lnTo>
                    <a:pt x="246" y="966"/>
                  </a:lnTo>
                  <a:lnTo>
                    <a:pt x="193" y="931"/>
                  </a:lnTo>
                  <a:lnTo>
                    <a:pt x="193" y="949"/>
                  </a:lnTo>
                  <a:lnTo>
                    <a:pt x="175" y="949"/>
                  </a:lnTo>
                  <a:lnTo>
                    <a:pt x="158" y="931"/>
                  </a:lnTo>
                  <a:lnTo>
                    <a:pt x="140" y="914"/>
                  </a:lnTo>
                  <a:lnTo>
                    <a:pt x="140" y="879"/>
                  </a:lnTo>
                  <a:lnTo>
                    <a:pt x="105" y="861"/>
                  </a:lnTo>
                  <a:lnTo>
                    <a:pt x="87" y="879"/>
                  </a:lnTo>
                  <a:lnTo>
                    <a:pt x="70" y="896"/>
                  </a:lnTo>
                  <a:lnTo>
                    <a:pt x="0" y="879"/>
                  </a:lnTo>
                  <a:lnTo>
                    <a:pt x="0" y="843"/>
                  </a:lnTo>
                  <a:lnTo>
                    <a:pt x="35" y="808"/>
                  </a:lnTo>
                  <a:lnTo>
                    <a:pt x="52" y="756"/>
                  </a:lnTo>
                  <a:lnTo>
                    <a:pt x="0" y="633"/>
                  </a:lnTo>
                  <a:lnTo>
                    <a:pt x="35" y="580"/>
                  </a:lnTo>
                  <a:lnTo>
                    <a:pt x="35" y="527"/>
                  </a:lnTo>
                  <a:lnTo>
                    <a:pt x="35" y="492"/>
                  </a:lnTo>
                  <a:lnTo>
                    <a:pt x="52" y="492"/>
                  </a:lnTo>
                  <a:lnTo>
                    <a:pt x="70" y="492"/>
                  </a:lnTo>
                  <a:lnTo>
                    <a:pt x="87" y="439"/>
                  </a:lnTo>
                  <a:lnTo>
                    <a:pt x="87" y="404"/>
                  </a:lnTo>
                  <a:lnTo>
                    <a:pt x="123" y="387"/>
                  </a:lnTo>
                  <a:lnTo>
                    <a:pt x="175" y="369"/>
                  </a:lnTo>
                  <a:lnTo>
                    <a:pt x="210" y="352"/>
                  </a:lnTo>
                  <a:lnTo>
                    <a:pt x="210" y="334"/>
                  </a:lnTo>
                  <a:lnTo>
                    <a:pt x="210" y="317"/>
                  </a:lnTo>
                  <a:lnTo>
                    <a:pt x="193" y="264"/>
                  </a:lnTo>
                  <a:lnTo>
                    <a:pt x="175" y="229"/>
                  </a:lnTo>
                  <a:lnTo>
                    <a:pt x="158" y="229"/>
                  </a:lnTo>
                  <a:lnTo>
                    <a:pt x="140" y="229"/>
                  </a:lnTo>
                  <a:lnTo>
                    <a:pt x="123" y="246"/>
                  </a:lnTo>
                  <a:lnTo>
                    <a:pt x="105" y="229"/>
                  </a:lnTo>
                  <a:lnTo>
                    <a:pt x="105" y="211"/>
                  </a:lnTo>
                  <a:lnTo>
                    <a:pt x="105" y="194"/>
                  </a:lnTo>
                  <a:lnTo>
                    <a:pt x="123" y="176"/>
                  </a:lnTo>
                  <a:lnTo>
                    <a:pt x="140" y="141"/>
                  </a:lnTo>
                  <a:lnTo>
                    <a:pt x="123" y="106"/>
                  </a:lnTo>
                  <a:lnTo>
                    <a:pt x="175" y="36"/>
                  </a:lnTo>
                  <a:lnTo>
                    <a:pt x="193" y="0"/>
                  </a:lnTo>
                  <a:lnTo>
                    <a:pt x="228" y="0"/>
                  </a:lnTo>
                  <a:lnTo>
                    <a:pt x="246" y="0"/>
                  </a:lnTo>
                  <a:lnTo>
                    <a:pt x="246" y="36"/>
                  </a:lnTo>
                  <a:lnTo>
                    <a:pt x="246" y="53"/>
                  </a:lnTo>
                  <a:lnTo>
                    <a:pt x="228" y="71"/>
                  </a:lnTo>
                  <a:lnTo>
                    <a:pt x="246" y="88"/>
                  </a:lnTo>
                  <a:lnTo>
                    <a:pt x="298" y="106"/>
                  </a:lnTo>
                  <a:lnTo>
                    <a:pt x="404" y="141"/>
                  </a:lnTo>
                  <a:lnTo>
                    <a:pt x="456" y="123"/>
                  </a:lnTo>
                  <a:lnTo>
                    <a:pt x="509" y="141"/>
                  </a:lnTo>
                  <a:lnTo>
                    <a:pt x="544" y="158"/>
                  </a:lnTo>
                  <a:lnTo>
                    <a:pt x="562" y="158"/>
                  </a:lnTo>
                  <a:lnTo>
                    <a:pt x="614" y="123"/>
                  </a:lnTo>
                  <a:lnTo>
                    <a:pt x="632" y="106"/>
                  </a:lnTo>
                  <a:lnTo>
                    <a:pt x="667" y="71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auto">
            <a:xfrm>
              <a:off x="3180675" y="4851592"/>
              <a:ext cx="458303" cy="329824"/>
            </a:xfrm>
            <a:custGeom>
              <a:avLst/>
              <a:gdLst>
                <a:gd name="T0" fmla="*/ 756 w 756"/>
                <a:gd name="T1" fmla="*/ 491 h 544"/>
                <a:gd name="T2" fmla="*/ 686 w 756"/>
                <a:gd name="T3" fmla="*/ 509 h 544"/>
                <a:gd name="T4" fmla="*/ 686 w 756"/>
                <a:gd name="T5" fmla="*/ 527 h 544"/>
                <a:gd name="T6" fmla="*/ 650 w 756"/>
                <a:gd name="T7" fmla="*/ 527 h 544"/>
                <a:gd name="T8" fmla="*/ 457 w 756"/>
                <a:gd name="T9" fmla="*/ 527 h 544"/>
                <a:gd name="T10" fmla="*/ 422 w 756"/>
                <a:gd name="T11" fmla="*/ 544 h 544"/>
                <a:gd name="T12" fmla="*/ 404 w 756"/>
                <a:gd name="T13" fmla="*/ 527 h 544"/>
                <a:gd name="T14" fmla="*/ 369 w 756"/>
                <a:gd name="T15" fmla="*/ 509 h 544"/>
                <a:gd name="T16" fmla="*/ 317 w 756"/>
                <a:gd name="T17" fmla="*/ 544 h 544"/>
                <a:gd name="T18" fmla="*/ 299 w 756"/>
                <a:gd name="T19" fmla="*/ 527 h 544"/>
                <a:gd name="T20" fmla="*/ 264 w 756"/>
                <a:gd name="T21" fmla="*/ 527 h 544"/>
                <a:gd name="T22" fmla="*/ 264 w 756"/>
                <a:gd name="T23" fmla="*/ 527 h 544"/>
                <a:gd name="T24" fmla="*/ 176 w 756"/>
                <a:gd name="T25" fmla="*/ 527 h 544"/>
                <a:gd name="T26" fmla="*/ 88 w 756"/>
                <a:gd name="T27" fmla="*/ 491 h 544"/>
                <a:gd name="T28" fmla="*/ 88 w 756"/>
                <a:gd name="T29" fmla="*/ 456 h 544"/>
                <a:gd name="T30" fmla="*/ 88 w 756"/>
                <a:gd name="T31" fmla="*/ 456 h 544"/>
                <a:gd name="T32" fmla="*/ 106 w 756"/>
                <a:gd name="T33" fmla="*/ 404 h 544"/>
                <a:gd name="T34" fmla="*/ 106 w 756"/>
                <a:gd name="T35" fmla="*/ 368 h 544"/>
                <a:gd name="T36" fmla="*/ 71 w 756"/>
                <a:gd name="T37" fmla="*/ 368 h 544"/>
                <a:gd name="T38" fmla="*/ 36 w 756"/>
                <a:gd name="T39" fmla="*/ 333 h 544"/>
                <a:gd name="T40" fmla="*/ 0 w 756"/>
                <a:gd name="T41" fmla="*/ 333 h 544"/>
                <a:gd name="T42" fmla="*/ 18 w 756"/>
                <a:gd name="T43" fmla="*/ 281 h 544"/>
                <a:gd name="T44" fmla="*/ 106 w 756"/>
                <a:gd name="T45" fmla="*/ 193 h 544"/>
                <a:gd name="T46" fmla="*/ 123 w 756"/>
                <a:gd name="T47" fmla="*/ 140 h 544"/>
                <a:gd name="T48" fmla="*/ 123 w 756"/>
                <a:gd name="T49" fmla="*/ 35 h 544"/>
                <a:gd name="T50" fmla="*/ 141 w 756"/>
                <a:gd name="T51" fmla="*/ 35 h 544"/>
                <a:gd name="T52" fmla="*/ 176 w 756"/>
                <a:gd name="T53" fmla="*/ 0 h 544"/>
                <a:gd name="T54" fmla="*/ 194 w 756"/>
                <a:gd name="T55" fmla="*/ 0 h 544"/>
                <a:gd name="T56" fmla="*/ 281 w 756"/>
                <a:gd name="T57" fmla="*/ 35 h 544"/>
                <a:gd name="T58" fmla="*/ 369 w 756"/>
                <a:gd name="T59" fmla="*/ 87 h 544"/>
                <a:gd name="T60" fmla="*/ 387 w 756"/>
                <a:gd name="T61" fmla="*/ 70 h 544"/>
                <a:gd name="T62" fmla="*/ 422 w 756"/>
                <a:gd name="T63" fmla="*/ 52 h 544"/>
                <a:gd name="T64" fmla="*/ 457 w 756"/>
                <a:gd name="T65" fmla="*/ 52 h 544"/>
                <a:gd name="T66" fmla="*/ 457 w 756"/>
                <a:gd name="T67" fmla="*/ 123 h 544"/>
                <a:gd name="T68" fmla="*/ 510 w 756"/>
                <a:gd name="T69" fmla="*/ 193 h 544"/>
                <a:gd name="T70" fmla="*/ 510 w 756"/>
                <a:gd name="T71" fmla="*/ 228 h 544"/>
                <a:gd name="T72" fmla="*/ 510 w 756"/>
                <a:gd name="T73" fmla="*/ 246 h 544"/>
                <a:gd name="T74" fmla="*/ 545 w 756"/>
                <a:gd name="T75" fmla="*/ 263 h 544"/>
                <a:gd name="T76" fmla="*/ 615 w 756"/>
                <a:gd name="T77" fmla="*/ 263 h 544"/>
                <a:gd name="T78" fmla="*/ 633 w 756"/>
                <a:gd name="T79" fmla="*/ 281 h 544"/>
                <a:gd name="T80" fmla="*/ 686 w 756"/>
                <a:gd name="T81" fmla="*/ 351 h 544"/>
                <a:gd name="T82" fmla="*/ 703 w 756"/>
                <a:gd name="T83" fmla="*/ 386 h 544"/>
                <a:gd name="T84" fmla="*/ 738 w 756"/>
                <a:gd name="T85" fmla="*/ 386 h 544"/>
                <a:gd name="T86" fmla="*/ 756 w 756"/>
                <a:gd name="T87" fmla="*/ 456 h 544"/>
                <a:gd name="T88" fmla="*/ 756 w 756"/>
                <a:gd name="T89" fmla="*/ 474 h 544"/>
                <a:gd name="T90" fmla="*/ 756 w 756"/>
                <a:gd name="T91" fmla="*/ 491 h 54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56"/>
                <a:gd name="T139" fmla="*/ 0 h 544"/>
                <a:gd name="T140" fmla="*/ 756 w 756"/>
                <a:gd name="T141" fmla="*/ 544 h 54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56" h="544">
                  <a:moveTo>
                    <a:pt x="756" y="491"/>
                  </a:moveTo>
                  <a:lnTo>
                    <a:pt x="756" y="491"/>
                  </a:lnTo>
                  <a:lnTo>
                    <a:pt x="721" y="509"/>
                  </a:lnTo>
                  <a:lnTo>
                    <a:pt x="686" y="509"/>
                  </a:lnTo>
                  <a:lnTo>
                    <a:pt x="686" y="527"/>
                  </a:lnTo>
                  <a:lnTo>
                    <a:pt x="650" y="527"/>
                  </a:lnTo>
                  <a:lnTo>
                    <a:pt x="457" y="527"/>
                  </a:lnTo>
                  <a:lnTo>
                    <a:pt x="440" y="544"/>
                  </a:lnTo>
                  <a:lnTo>
                    <a:pt x="422" y="544"/>
                  </a:lnTo>
                  <a:lnTo>
                    <a:pt x="404" y="527"/>
                  </a:lnTo>
                  <a:lnTo>
                    <a:pt x="369" y="509"/>
                  </a:lnTo>
                  <a:lnTo>
                    <a:pt x="352" y="527"/>
                  </a:lnTo>
                  <a:lnTo>
                    <a:pt x="317" y="544"/>
                  </a:lnTo>
                  <a:lnTo>
                    <a:pt x="299" y="527"/>
                  </a:lnTo>
                  <a:lnTo>
                    <a:pt x="264" y="527"/>
                  </a:lnTo>
                  <a:lnTo>
                    <a:pt x="211" y="527"/>
                  </a:lnTo>
                  <a:lnTo>
                    <a:pt x="176" y="527"/>
                  </a:lnTo>
                  <a:lnTo>
                    <a:pt x="141" y="509"/>
                  </a:lnTo>
                  <a:lnTo>
                    <a:pt x="88" y="491"/>
                  </a:lnTo>
                  <a:lnTo>
                    <a:pt x="88" y="456"/>
                  </a:lnTo>
                  <a:lnTo>
                    <a:pt x="106" y="421"/>
                  </a:lnTo>
                  <a:lnTo>
                    <a:pt x="106" y="404"/>
                  </a:lnTo>
                  <a:lnTo>
                    <a:pt x="106" y="368"/>
                  </a:lnTo>
                  <a:lnTo>
                    <a:pt x="71" y="368"/>
                  </a:lnTo>
                  <a:lnTo>
                    <a:pt x="53" y="368"/>
                  </a:lnTo>
                  <a:lnTo>
                    <a:pt x="36" y="333"/>
                  </a:lnTo>
                  <a:lnTo>
                    <a:pt x="0" y="333"/>
                  </a:lnTo>
                  <a:lnTo>
                    <a:pt x="18" y="281"/>
                  </a:lnTo>
                  <a:lnTo>
                    <a:pt x="71" y="246"/>
                  </a:lnTo>
                  <a:lnTo>
                    <a:pt x="106" y="193"/>
                  </a:lnTo>
                  <a:lnTo>
                    <a:pt x="123" y="140"/>
                  </a:lnTo>
                  <a:lnTo>
                    <a:pt x="106" y="35"/>
                  </a:lnTo>
                  <a:lnTo>
                    <a:pt x="123" y="35"/>
                  </a:lnTo>
                  <a:lnTo>
                    <a:pt x="141" y="35"/>
                  </a:lnTo>
                  <a:lnTo>
                    <a:pt x="158" y="17"/>
                  </a:lnTo>
                  <a:lnTo>
                    <a:pt x="176" y="0"/>
                  </a:lnTo>
                  <a:lnTo>
                    <a:pt x="194" y="0"/>
                  </a:lnTo>
                  <a:lnTo>
                    <a:pt x="229" y="17"/>
                  </a:lnTo>
                  <a:lnTo>
                    <a:pt x="281" y="35"/>
                  </a:lnTo>
                  <a:lnTo>
                    <a:pt x="334" y="70"/>
                  </a:lnTo>
                  <a:lnTo>
                    <a:pt x="369" y="87"/>
                  </a:lnTo>
                  <a:lnTo>
                    <a:pt x="387" y="70"/>
                  </a:lnTo>
                  <a:lnTo>
                    <a:pt x="422" y="52"/>
                  </a:lnTo>
                  <a:lnTo>
                    <a:pt x="457" y="52"/>
                  </a:lnTo>
                  <a:lnTo>
                    <a:pt x="457" y="123"/>
                  </a:lnTo>
                  <a:lnTo>
                    <a:pt x="475" y="158"/>
                  </a:lnTo>
                  <a:lnTo>
                    <a:pt x="510" y="193"/>
                  </a:lnTo>
                  <a:lnTo>
                    <a:pt x="510" y="228"/>
                  </a:lnTo>
                  <a:lnTo>
                    <a:pt x="510" y="246"/>
                  </a:lnTo>
                  <a:lnTo>
                    <a:pt x="545" y="263"/>
                  </a:lnTo>
                  <a:lnTo>
                    <a:pt x="563" y="263"/>
                  </a:lnTo>
                  <a:lnTo>
                    <a:pt x="615" y="263"/>
                  </a:lnTo>
                  <a:lnTo>
                    <a:pt x="633" y="281"/>
                  </a:lnTo>
                  <a:lnTo>
                    <a:pt x="650" y="316"/>
                  </a:lnTo>
                  <a:lnTo>
                    <a:pt x="686" y="351"/>
                  </a:lnTo>
                  <a:lnTo>
                    <a:pt x="703" y="386"/>
                  </a:lnTo>
                  <a:lnTo>
                    <a:pt x="738" y="386"/>
                  </a:lnTo>
                  <a:lnTo>
                    <a:pt x="738" y="439"/>
                  </a:lnTo>
                  <a:lnTo>
                    <a:pt x="756" y="456"/>
                  </a:lnTo>
                  <a:lnTo>
                    <a:pt x="756" y="474"/>
                  </a:lnTo>
                  <a:lnTo>
                    <a:pt x="756" y="491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2" name="Freeform 20"/>
            <p:cNvSpPr>
              <a:spLocks/>
            </p:cNvSpPr>
            <p:nvPr/>
          </p:nvSpPr>
          <p:spPr bwMode="auto">
            <a:xfrm>
              <a:off x="1945197" y="3392242"/>
              <a:ext cx="735346" cy="617814"/>
            </a:xfrm>
            <a:custGeom>
              <a:avLst/>
              <a:gdLst>
                <a:gd name="T0" fmla="*/ 545 w 1213"/>
                <a:gd name="T1" fmla="*/ 176 h 1019"/>
                <a:gd name="T2" fmla="*/ 545 w 1213"/>
                <a:gd name="T3" fmla="*/ 299 h 1019"/>
                <a:gd name="T4" fmla="*/ 615 w 1213"/>
                <a:gd name="T5" fmla="*/ 387 h 1019"/>
                <a:gd name="T6" fmla="*/ 651 w 1213"/>
                <a:gd name="T7" fmla="*/ 404 h 1019"/>
                <a:gd name="T8" fmla="*/ 703 w 1213"/>
                <a:gd name="T9" fmla="*/ 422 h 1019"/>
                <a:gd name="T10" fmla="*/ 721 w 1213"/>
                <a:gd name="T11" fmla="*/ 475 h 1019"/>
                <a:gd name="T12" fmla="*/ 773 w 1213"/>
                <a:gd name="T13" fmla="*/ 475 h 1019"/>
                <a:gd name="T14" fmla="*/ 844 w 1213"/>
                <a:gd name="T15" fmla="*/ 527 h 1019"/>
                <a:gd name="T16" fmla="*/ 879 w 1213"/>
                <a:gd name="T17" fmla="*/ 562 h 1019"/>
                <a:gd name="T18" fmla="*/ 967 w 1213"/>
                <a:gd name="T19" fmla="*/ 598 h 1019"/>
                <a:gd name="T20" fmla="*/ 1037 w 1213"/>
                <a:gd name="T21" fmla="*/ 650 h 1019"/>
                <a:gd name="T22" fmla="*/ 1055 w 1213"/>
                <a:gd name="T23" fmla="*/ 685 h 1019"/>
                <a:gd name="T24" fmla="*/ 1090 w 1213"/>
                <a:gd name="T25" fmla="*/ 668 h 1019"/>
                <a:gd name="T26" fmla="*/ 1142 w 1213"/>
                <a:gd name="T27" fmla="*/ 668 h 1019"/>
                <a:gd name="T28" fmla="*/ 1142 w 1213"/>
                <a:gd name="T29" fmla="*/ 720 h 1019"/>
                <a:gd name="T30" fmla="*/ 1178 w 1213"/>
                <a:gd name="T31" fmla="*/ 756 h 1019"/>
                <a:gd name="T32" fmla="*/ 1213 w 1213"/>
                <a:gd name="T33" fmla="*/ 791 h 1019"/>
                <a:gd name="T34" fmla="*/ 1037 w 1213"/>
                <a:gd name="T35" fmla="*/ 966 h 1019"/>
                <a:gd name="T36" fmla="*/ 932 w 1213"/>
                <a:gd name="T37" fmla="*/ 1019 h 1019"/>
                <a:gd name="T38" fmla="*/ 809 w 1213"/>
                <a:gd name="T39" fmla="*/ 931 h 1019"/>
                <a:gd name="T40" fmla="*/ 686 w 1213"/>
                <a:gd name="T41" fmla="*/ 843 h 1019"/>
                <a:gd name="T42" fmla="*/ 633 w 1213"/>
                <a:gd name="T43" fmla="*/ 773 h 1019"/>
                <a:gd name="T44" fmla="*/ 615 w 1213"/>
                <a:gd name="T45" fmla="*/ 756 h 1019"/>
                <a:gd name="T46" fmla="*/ 545 w 1213"/>
                <a:gd name="T47" fmla="*/ 773 h 1019"/>
                <a:gd name="T48" fmla="*/ 475 w 1213"/>
                <a:gd name="T49" fmla="*/ 773 h 1019"/>
                <a:gd name="T50" fmla="*/ 405 w 1213"/>
                <a:gd name="T51" fmla="*/ 773 h 1019"/>
                <a:gd name="T52" fmla="*/ 352 w 1213"/>
                <a:gd name="T53" fmla="*/ 615 h 1019"/>
                <a:gd name="T54" fmla="*/ 299 w 1213"/>
                <a:gd name="T55" fmla="*/ 598 h 1019"/>
                <a:gd name="T56" fmla="*/ 282 w 1213"/>
                <a:gd name="T57" fmla="*/ 615 h 1019"/>
                <a:gd name="T58" fmla="*/ 229 w 1213"/>
                <a:gd name="T59" fmla="*/ 562 h 1019"/>
                <a:gd name="T60" fmla="*/ 159 w 1213"/>
                <a:gd name="T61" fmla="*/ 562 h 1019"/>
                <a:gd name="T62" fmla="*/ 159 w 1213"/>
                <a:gd name="T63" fmla="*/ 527 h 1019"/>
                <a:gd name="T64" fmla="*/ 123 w 1213"/>
                <a:gd name="T65" fmla="*/ 457 h 1019"/>
                <a:gd name="T66" fmla="*/ 71 w 1213"/>
                <a:gd name="T67" fmla="*/ 475 h 1019"/>
                <a:gd name="T68" fmla="*/ 53 w 1213"/>
                <a:gd name="T69" fmla="*/ 457 h 1019"/>
                <a:gd name="T70" fmla="*/ 71 w 1213"/>
                <a:gd name="T71" fmla="*/ 369 h 1019"/>
                <a:gd name="T72" fmla="*/ 36 w 1213"/>
                <a:gd name="T73" fmla="*/ 352 h 1019"/>
                <a:gd name="T74" fmla="*/ 18 w 1213"/>
                <a:gd name="T75" fmla="*/ 299 h 1019"/>
                <a:gd name="T76" fmla="*/ 53 w 1213"/>
                <a:gd name="T77" fmla="*/ 264 h 1019"/>
                <a:gd name="T78" fmla="*/ 176 w 1213"/>
                <a:gd name="T79" fmla="*/ 211 h 1019"/>
                <a:gd name="T80" fmla="*/ 176 w 1213"/>
                <a:gd name="T81" fmla="*/ 158 h 1019"/>
                <a:gd name="T82" fmla="*/ 282 w 1213"/>
                <a:gd name="T83" fmla="*/ 71 h 1019"/>
                <a:gd name="T84" fmla="*/ 422 w 1213"/>
                <a:gd name="T85" fmla="*/ 18 h 1019"/>
                <a:gd name="T86" fmla="*/ 528 w 1213"/>
                <a:gd name="T87" fmla="*/ 35 h 1019"/>
                <a:gd name="T88" fmla="*/ 580 w 1213"/>
                <a:gd name="T89" fmla="*/ 106 h 101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13"/>
                <a:gd name="T136" fmla="*/ 0 h 1019"/>
                <a:gd name="T137" fmla="*/ 1213 w 1213"/>
                <a:gd name="T138" fmla="*/ 1019 h 101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13" h="1019">
                  <a:moveTo>
                    <a:pt x="580" y="106"/>
                  </a:moveTo>
                  <a:lnTo>
                    <a:pt x="580" y="106"/>
                  </a:lnTo>
                  <a:lnTo>
                    <a:pt x="545" y="176"/>
                  </a:lnTo>
                  <a:lnTo>
                    <a:pt x="545" y="264"/>
                  </a:lnTo>
                  <a:lnTo>
                    <a:pt x="545" y="299"/>
                  </a:lnTo>
                  <a:lnTo>
                    <a:pt x="580" y="334"/>
                  </a:lnTo>
                  <a:lnTo>
                    <a:pt x="615" y="352"/>
                  </a:lnTo>
                  <a:lnTo>
                    <a:pt x="615" y="387"/>
                  </a:lnTo>
                  <a:lnTo>
                    <a:pt x="633" y="404"/>
                  </a:lnTo>
                  <a:lnTo>
                    <a:pt x="651" y="404"/>
                  </a:lnTo>
                  <a:lnTo>
                    <a:pt x="686" y="404"/>
                  </a:lnTo>
                  <a:lnTo>
                    <a:pt x="703" y="422"/>
                  </a:lnTo>
                  <a:lnTo>
                    <a:pt x="703" y="439"/>
                  </a:lnTo>
                  <a:lnTo>
                    <a:pt x="703" y="457"/>
                  </a:lnTo>
                  <a:lnTo>
                    <a:pt x="721" y="475"/>
                  </a:lnTo>
                  <a:lnTo>
                    <a:pt x="773" y="475"/>
                  </a:lnTo>
                  <a:lnTo>
                    <a:pt x="791" y="475"/>
                  </a:lnTo>
                  <a:lnTo>
                    <a:pt x="809" y="510"/>
                  </a:lnTo>
                  <a:lnTo>
                    <a:pt x="844" y="527"/>
                  </a:lnTo>
                  <a:lnTo>
                    <a:pt x="879" y="527"/>
                  </a:lnTo>
                  <a:lnTo>
                    <a:pt x="879" y="562"/>
                  </a:lnTo>
                  <a:lnTo>
                    <a:pt x="879" y="598"/>
                  </a:lnTo>
                  <a:lnTo>
                    <a:pt x="967" y="598"/>
                  </a:lnTo>
                  <a:lnTo>
                    <a:pt x="1037" y="650"/>
                  </a:lnTo>
                  <a:lnTo>
                    <a:pt x="1037" y="668"/>
                  </a:lnTo>
                  <a:lnTo>
                    <a:pt x="1055" y="685"/>
                  </a:lnTo>
                  <a:lnTo>
                    <a:pt x="1072" y="685"/>
                  </a:lnTo>
                  <a:lnTo>
                    <a:pt x="1090" y="668"/>
                  </a:lnTo>
                  <a:lnTo>
                    <a:pt x="1107" y="650"/>
                  </a:lnTo>
                  <a:lnTo>
                    <a:pt x="1142" y="668"/>
                  </a:lnTo>
                  <a:lnTo>
                    <a:pt x="1142" y="685"/>
                  </a:lnTo>
                  <a:lnTo>
                    <a:pt x="1142" y="720"/>
                  </a:lnTo>
                  <a:lnTo>
                    <a:pt x="1160" y="738"/>
                  </a:lnTo>
                  <a:lnTo>
                    <a:pt x="1178" y="756"/>
                  </a:lnTo>
                  <a:lnTo>
                    <a:pt x="1195" y="773"/>
                  </a:lnTo>
                  <a:lnTo>
                    <a:pt x="1213" y="791"/>
                  </a:lnTo>
                  <a:lnTo>
                    <a:pt x="1160" y="843"/>
                  </a:lnTo>
                  <a:lnTo>
                    <a:pt x="1107" y="914"/>
                  </a:lnTo>
                  <a:lnTo>
                    <a:pt x="1037" y="966"/>
                  </a:lnTo>
                  <a:lnTo>
                    <a:pt x="967" y="1019"/>
                  </a:lnTo>
                  <a:lnTo>
                    <a:pt x="932" y="1019"/>
                  </a:lnTo>
                  <a:lnTo>
                    <a:pt x="879" y="1002"/>
                  </a:lnTo>
                  <a:lnTo>
                    <a:pt x="844" y="966"/>
                  </a:lnTo>
                  <a:lnTo>
                    <a:pt x="809" y="931"/>
                  </a:lnTo>
                  <a:lnTo>
                    <a:pt x="721" y="879"/>
                  </a:lnTo>
                  <a:lnTo>
                    <a:pt x="686" y="843"/>
                  </a:lnTo>
                  <a:lnTo>
                    <a:pt x="651" y="791"/>
                  </a:lnTo>
                  <a:lnTo>
                    <a:pt x="633" y="773"/>
                  </a:lnTo>
                  <a:lnTo>
                    <a:pt x="615" y="738"/>
                  </a:lnTo>
                  <a:lnTo>
                    <a:pt x="615" y="756"/>
                  </a:lnTo>
                  <a:lnTo>
                    <a:pt x="580" y="773"/>
                  </a:lnTo>
                  <a:lnTo>
                    <a:pt x="545" y="773"/>
                  </a:lnTo>
                  <a:lnTo>
                    <a:pt x="510" y="756"/>
                  </a:lnTo>
                  <a:lnTo>
                    <a:pt x="475" y="773"/>
                  </a:lnTo>
                  <a:lnTo>
                    <a:pt x="440" y="791"/>
                  </a:lnTo>
                  <a:lnTo>
                    <a:pt x="405" y="773"/>
                  </a:lnTo>
                  <a:lnTo>
                    <a:pt x="387" y="756"/>
                  </a:lnTo>
                  <a:lnTo>
                    <a:pt x="369" y="685"/>
                  </a:lnTo>
                  <a:lnTo>
                    <a:pt x="352" y="615"/>
                  </a:lnTo>
                  <a:lnTo>
                    <a:pt x="334" y="598"/>
                  </a:lnTo>
                  <a:lnTo>
                    <a:pt x="299" y="598"/>
                  </a:lnTo>
                  <a:lnTo>
                    <a:pt x="282" y="615"/>
                  </a:lnTo>
                  <a:lnTo>
                    <a:pt x="264" y="598"/>
                  </a:lnTo>
                  <a:lnTo>
                    <a:pt x="246" y="580"/>
                  </a:lnTo>
                  <a:lnTo>
                    <a:pt x="229" y="562"/>
                  </a:lnTo>
                  <a:lnTo>
                    <a:pt x="194" y="562"/>
                  </a:lnTo>
                  <a:lnTo>
                    <a:pt x="159" y="562"/>
                  </a:lnTo>
                  <a:lnTo>
                    <a:pt x="159" y="545"/>
                  </a:lnTo>
                  <a:lnTo>
                    <a:pt x="159" y="527"/>
                  </a:lnTo>
                  <a:lnTo>
                    <a:pt x="159" y="492"/>
                  </a:lnTo>
                  <a:lnTo>
                    <a:pt x="141" y="457"/>
                  </a:lnTo>
                  <a:lnTo>
                    <a:pt x="123" y="457"/>
                  </a:lnTo>
                  <a:lnTo>
                    <a:pt x="106" y="475"/>
                  </a:lnTo>
                  <a:lnTo>
                    <a:pt x="71" y="475"/>
                  </a:lnTo>
                  <a:lnTo>
                    <a:pt x="53" y="475"/>
                  </a:lnTo>
                  <a:lnTo>
                    <a:pt x="53" y="457"/>
                  </a:lnTo>
                  <a:lnTo>
                    <a:pt x="71" y="404"/>
                  </a:lnTo>
                  <a:lnTo>
                    <a:pt x="71" y="369"/>
                  </a:lnTo>
                  <a:lnTo>
                    <a:pt x="53" y="352"/>
                  </a:lnTo>
                  <a:lnTo>
                    <a:pt x="36" y="352"/>
                  </a:lnTo>
                  <a:lnTo>
                    <a:pt x="0" y="334"/>
                  </a:lnTo>
                  <a:lnTo>
                    <a:pt x="18" y="299"/>
                  </a:lnTo>
                  <a:lnTo>
                    <a:pt x="36" y="246"/>
                  </a:lnTo>
                  <a:lnTo>
                    <a:pt x="53" y="264"/>
                  </a:lnTo>
                  <a:lnTo>
                    <a:pt x="106" y="264"/>
                  </a:lnTo>
                  <a:lnTo>
                    <a:pt x="176" y="211"/>
                  </a:lnTo>
                  <a:lnTo>
                    <a:pt x="176" y="176"/>
                  </a:lnTo>
                  <a:lnTo>
                    <a:pt x="176" y="158"/>
                  </a:lnTo>
                  <a:lnTo>
                    <a:pt x="176" y="141"/>
                  </a:lnTo>
                  <a:lnTo>
                    <a:pt x="282" y="71"/>
                  </a:lnTo>
                  <a:lnTo>
                    <a:pt x="387" y="0"/>
                  </a:lnTo>
                  <a:lnTo>
                    <a:pt x="422" y="18"/>
                  </a:lnTo>
                  <a:lnTo>
                    <a:pt x="457" y="18"/>
                  </a:lnTo>
                  <a:lnTo>
                    <a:pt x="528" y="35"/>
                  </a:lnTo>
                  <a:lnTo>
                    <a:pt x="563" y="71"/>
                  </a:lnTo>
                  <a:lnTo>
                    <a:pt x="580" y="106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3" name="Freeform 21"/>
            <p:cNvSpPr>
              <a:spLocks/>
            </p:cNvSpPr>
            <p:nvPr/>
          </p:nvSpPr>
          <p:spPr bwMode="auto">
            <a:xfrm>
              <a:off x="4065152" y="5043181"/>
              <a:ext cx="702610" cy="543240"/>
            </a:xfrm>
            <a:custGeom>
              <a:avLst/>
              <a:gdLst>
                <a:gd name="T0" fmla="*/ 210 w 1159"/>
                <a:gd name="T1" fmla="*/ 35 h 896"/>
                <a:gd name="T2" fmla="*/ 193 w 1159"/>
                <a:gd name="T3" fmla="*/ 105 h 896"/>
                <a:gd name="T4" fmla="*/ 175 w 1159"/>
                <a:gd name="T5" fmla="*/ 158 h 896"/>
                <a:gd name="T6" fmla="*/ 175 w 1159"/>
                <a:gd name="T7" fmla="*/ 211 h 896"/>
                <a:gd name="T8" fmla="*/ 105 w 1159"/>
                <a:gd name="T9" fmla="*/ 228 h 896"/>
                <a:gd name="T10" fmla="*/ 70 w 1159"/>
                <a:gd name="T11" fmla="*/ 263 h 896"/>
                <a:gd name="T12" fmla="*/ 35 w 1159"/>
                <a:gd name="T13" fmla="*/ 351 h 896"/>
                <a:gd name="T14" fmla="*/ 35 w 1159"/>
                <a:gd name="T15" fmla="*/ 439 h 896"/>
                <a:gd name="T16" fmla="*/ 70 w 1159"/>
                <a:gd name="T17" fmla="*/ 527 h 896"/>
                <a:gd name="T18" fmla="*/ 52 w 1159"/>
                <a:gd name="T19" fmla="*/ 544 h 896"/>
                <a:gd name="T20" fmla="*/ 0 w 1159"/>
                <a:gd name="T21" fmla="*/ 632 h 896"/>
                <a:gd name="T22" fmla="*/ 158 w 1159"/>
                <a:gd name="T23" fmla="*/ 597 h 896"/>
                <a:gd name="T24" fmla="*/ 193 w 1159"/>
                <a:gd name="T25" fmla="*/ 597 h 896"/>
                <a:gd name="T26" fmla="*/ 140 w 1159"/>
                <a:gd name="T27" fmla="*/ 632 h 896"/>
                <a:gd name="T28" fmla="*/ 140 w 1159"/>
                <a:gd name="T29" fmla="*/ 667 h 896"/>
                <a:gd name="T30" fmla="*/ 263 w 1159"/>
                <a:gd name="T31" fmla="*/ 825 h 896"/>
                <a:gd name="T32" fmla="*/ 263 w 1159"/>
                <a:gd name="T33" fmla="*/ 825 h 896"/>
                <a:gd name="T34" fmla="*/ 316 w 1159"/>
                <a:gd name="T35" fmla="*/ 790 h 896"/>
                <a:gd name="T36" fmla="*/ 351 w 1159"/>
                <a:gd name="T37" fmla="*/ 825 h 896"/>
                <a:gd name="T38" fmla="*/ 491 w 1159"/>
                <a:gd name="T39" fmla="*/ 790 h 896"/>
                <a:gd name="T40" fmla="*/ 579 w 1159"/>
                <a:gd name="T41" fmla="*/ 737 h 896"/>
                <a:gd name="T42" fmla="*/ 667 w 1159"/>
                <a:gd name="T43" fmla="*/ 702 h 896"/>
                <a:gd name="T44" fmla="*/ 720 w 1159"/>
                <a:gd name="T45" fmla="*/ 755 h 896"/>
                <a:gd name="T46" fmla="*/ 755 w 1159"/>
                <a:gd name="T47" fmla="*/ 808 h 896"/>
                <a:gd name="T48" fmla="*/ 825 w 1159"/>
                <a:gd name="T49" fmla="*/ 896 h 896"/>
                <a:gd name="T50" fmla="*/ 878 w 1159"/>
                <a:gd name="T51" fmla="*/ 843 h 896"/>
                <a:gd name="T52" fmla="*/ 966 w 1159"/>
                <a:gd name="T53" fmla="*/ 790 h 896"/>
                <a:gd name="T54" fmla="*/ 983 w 1159"/>
                <a:gd name="T55" fmla="*/ 773 h 896"/>
                <a:gd name="T56" fmla="*/ 1089 w 1159"/>
                <a:gd name="T57" fmla="*/ 773 h 896"/>
                <a:gd name="T58" fmla="*/ 1124 w 1159"/>
                <a:gd name="T59" fmla="*/ 720 h 896"/>
                <a:gd name="T60" fmla="*/ 1141 w 1159"/>
                <a:gd name="T61" fmla="*/ 667 h 896"/>
                <a:gd name="T62" fmla="*/ 1159 w 1159"/>
                <a:gd name="T63" fmla="*/ 632 h 896"/>
                <a:gd name="T64" fmla="*/ 1124 w 1159"/>
                <a:gd name="T65" fmla="*/ 509 h 896"/>
                <a:gd name="T66" fmla="*/ 1124 w 1159"/>
                <a:gd name="T67" fmla="*/ 492 h 896"/>
                <a:gd name="T68" fmla="*/ 1106 w 1159"/>
                <a:gd name="T69" fmla="*/ 369 h 896"/>
                <a:gd name="T70" fmla="*/ 1106 w 1159"/>
                <a:gd name="T71" fmla="*/ 369 h 896"/>
                <a:gd name="T72" fmla="*/ 1001 w 1159"/>
                <a:gd name="T73" fmla="*/ 439 h 896"/>
                <a:gd name="T74" fmla="*/ 966 w 1159"/>
                <a:gd name="T75" fmla="*/ 439 h 896"/>
                <a:gd name="T76" fmla="*/ 983 w 1159"/>
                <a:gd name="T77" fmla="*/ 386 h 896"/>
                <a:gd name="T78" fmla="*/ 966 w 1159"/>
                <a:gd name="T79" fmla="*/ 333 h 896"/>
                <a:gd name="T80" fmla="*/ 966 w 1159"/>
                <a:gd name="T81" fmla="*/ 281 h 896"/>
                <a:gd name="T82" fmla="*/ 895 w 1159"/>
                <a:gd name="T83" fmla="*/ 281 h 896"/>
                <a:gd name="T84" fmla="*/ 808 w 1159"/>
                <a:gd name="T85" fmla="*/ 281 h 896"/>
                <a:gd name="T86" fmla="*/ 720 w 1159"/>
                <a:gd name="T87" fmla="*/ 228 h 896"/>
                <a:gd name="T88" fmla="*/ 632 w 1159"/>
                <a:gd name="T89" fmla="*/ 228 h 896"/>
                <a:gd name="T90" fmla="*/ 597 w 1159"/>
                <a:gd name="T91" fmla="*/ 140 h 896"/>
                <a:gd name="T92" fmla="*/ 509 w 1159"/>
                <a:gd name="T93" fmla="*/ 88 h 896"/>
                <a:gd name="T94" fmla="*/ 333 w 1159"/>
                <a:gd name="T95" fmla="*/ 35 h 896"/>
                <a:gd name="T96" fmla="*/ 263 w 1159"/>
                <a:gd name="T97" fmla="*/ 17 h 896"/>
                <a:gd name="T98" fmla="*/ 210 w 1159"/>
                <a:gd name="T99" fmla="*/ 0 h 89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159"/>
                <a:gd name="T151" fmla="*/ 0 h 896"/>
                <a:gd name="T152" fmla="*/ 1159 w 1159"/>
                <a:gd name="T153" fmla="*/ 896 h 89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159" h="896">
                  <a:moveTo>
                    <a:pt x="210" y="0"/>
                  </a:moveTo>
                  <a:lnTo>
                    <a:pt x="210" y="0"/>
                  </a:lnTo>
                  <a:lnTo>
                    <a:pt x="210" y="35"/>
                  </a:lnTo>
                  <a:lnTo>
                    <a:pt x="210" y="70"/>
                  </a:lnTo>
                  <a:lnTo>
                    <a:pt x="193" y="105"/>
                  </a:lnTo>
                  <a:lnTo>
                    <a:pt x="175" y="123"/>
                  </a:lnTo>
                  <a:lnTo>
                    <a:pt x="175" y="158"/>
                  </a:lnTo>
                  <a:lnTo>
                    <a:pt x="193" y="193"/>
                  </a:lnTo>
                  <a:lnTo>
                    <a:pt x="175" y="211"/>
                  </a:lnTo>
                  <a:lnTo>
                    <a:pt x="158" y="211"/>
                  </a:lnTo>
                  <a:lnTo>
                    <a:pt x="122" y="211"/>
                  </a:lnTo>
                  <a:lnTo>
                    <a:pt x="105" y="228"/>
                  </a:lnTo>
                  <a:lnTo>
                    <a:pt x="87" y="246"/>
                  </a:lnTo>
                  <a:lnTo>
                    <a:pt x="70" y="263"/>
                  </a:lnTo>
                  <a:lnTo>
                    <a:pt x="70" y="316"/>
                  </a:lnTo>
                  <a:lnTo>
                    <a:pt x="35" y="351"/>
                  </a:lnTo>
                  <a:lnTo>
                    <a:pt x="35" y="386"/>
                  </a:lnTo>
                  <a:lnTo>
                    <a:pt x="35" y="439"/>
                  </a:lnTo>
                  <a:lnTo>
                    <a:pt x="52" y="456"/>
                  </a:lnTo>
                  <a:lnTo>
                    <a:pt x="70" y="492"/>
                  </a:lnTo>
                  <a:lnTo>
                    <a:pt x="70" y="527"/>
                  </a:lnTo>
                  <a:lnTo>
                    <a:pt x="70" y="544"/>
                  </a:lnTo>
                  <a:lnTo>
                    <a:pt x="52" y="544"/>
                  </a:lnTo>
                  <a:lnTo>
                    <a:pt x="17" y="597"/>
                  </a:lnTo>
                  <a:lnTo>
                    <a:pt x="0" y="632"/>
                  </a:lnTo>
                  <a:lnTo>
                    <a:pt x="70" y="615"/>
                  </a:lnTo>
                  <a:lnTo>
                    <a:pt x="158" y="597"/>
                  </a:lnTo>
                  <a:lnTo>
                    <a:pt x="193" y="597"/>
                  </a:lnTo>
                  <a:lnTo>
                    <a:pt x="175" y="632"/>
                  </a:lnTo>
                  <a:lnTo>
                    <a:pt x="140" y="632"/>
                  </a:lnTo>
                  <a:lnTo>
                    <a:pt x="140" y="667"/>
                  </a:lnTo>
                  <a:lnTo>
                    <a:pt x="210" y="755"/>
                  </a:lnTo>
                  <a:lnTo>
                    <a:pt x="263" y="825"/>
                  </a:lnTo>
                  <a:lnTo>
                    <a:pt x="281" y="808"/>
                  </a:lnTo>
                  <a:lnTo>
                    <a:pt x="316" y="790"/>
                  </a:lnTo>
                  <a:lnTo>
                    <a:pt x="333" y="808"/>
                  </a:lnTo>
                  <a:lnTo>
                    <a:pt x="351" y="825"/>
                  </a:lnTo>
                  <a:lnTo>
                    <a:pt x="386" y="808"/>
                  </a:lnTo>
                  <a:lnTo>
                    <a:pt x="421" y="790"/>
                  </a:lnTo>
                  <a:lnTo>
                    <a:pt x="491" y="790"/>
                  </a:lnTo>
                  <a:lnTo>
                    <a:pt x="527" y="773"/>
                  </a:lnTo>
                  <a:lnTo>
                    <a:pt x="579" y="737"/>
                  </a:lnTo>
                  <a:lnTo>
                    <a:pt x="614" y="720"/>
                  </a:lnTo>
                  <a:lnTo>
                    <a:pt x="667" y="702"/>
                  </a:lnTo>
                  <a:lnTo>
                    <a:pt x="702" y="720"/>
                  </a:lnTo>
                  <a:lnTo>
                    <a:pt x="720" y="737"/>
                  </a:lnTo>
                  <a:lnTo>
                    <a:pt x="720" y="755"/>
                  </a:lnTo>
                  <a:lnTo>
                    <a:pt x="755" y="773"/>
                  </a:lnTo>
                  <a:lnTo>
                    <a:pt x="755" y="808"/>
                  </a:lnTo>
                  <a:lnTo>
                    <a:pt x="790" y="860"/>
                  </a:lnTo>
                  <a:lnTo>
                    <a:pt x="825" y="896"/>
                  </a:lnTo>
                  <a:lnTo>
                    <a:pt x="860" y="878"/>
                  </a:lnTo>
                  <a:lnTo>
                    <a:pt x="878" y="843"/>
                  </a:lnTo>
                  <a:lnTo>
                    <a:pt x="913" y="790"/>
                  </a:lnTo>
                  <a:lnTo>
                    <a:pt x="966" y="790"/>
                  </a:lnTo>
                  <a:lnTo>
                    <a:pt x="983" y="773"/>
                  </a:lnTo>
                  <a:lnTo>
                    <a:pt x="1036" y="755"/>
                  </a:lnTo>
                  <a:lnTo>
                    <a:pt x="1089" y="773"/>
                  </a:lnTo>
                  <a:lnTo>
                    <a:pt x="1106" y="755"/>
                  </a:lnTo>
                  <a:lnTo>
                    <a:pt x="1124" y="737"/>
                  </a:lnTo>
                  <a:lnTo>
                    <a:pt x="1124" y="720"/>
                  </a:lnTo>
                  <a:lnTo>
                    <a:pt x="1141" y="702"/>
                  </a:lnTo>
                  <a:lnTo>
                    <a:pt x="1141" y="667"/>
                  </a:lnTo>
                  <a:lnTo>
                    <a:pt x="1141" y="650"/>
                  </a:lnTo>
                  <a:lnTo>
                    <a:pt x="1159" y="632"/>
                  </a:lnTo>
                  <a:lnTo>
                    <a:pt x="1141" y="562"/>
                  </a:lnTo>
                  <a:lnTo>
                    <a:pt x="1124" y="509"/>
                  </a:lnTo>
                  <a:lnTo>
                    <a:pt x="1124" y="492"/>
                  </a:lnTo>
                  <a:lnTo>
                    <a:pt x="1106" y="421"/>
                  </a:lnTo>
                  <a:lnTo>
                    <a:pt x="1106" y="369"/>
                  </a:lnTo>
                  <a:lnTo>
                    <a:pt x="1036" y="386"/>
                  </a:lnTo>
                  <a:lnTo>
                    <a:pt x="1018" y="421"/>
                  </a:lnTo>
                  <a:lnTo>
                    <a:pt x="1001" y="439"/>
                  </a:lnTo>
                  <a:lnTo>
                    <a:pt x="966" y="439"/>
                  </a:lnTo>
                  <a:lnTo>
                    <a:pt x="983" y="386"/>
                  </a:lnTo>
                  <a:lnTo>
                    <a:pt x="966" y="369"/>
                  </a:lnTo>
                  <a:lnTo>
                    <a:pt x="966" y="333"/>
                  </a:lnTo>
                  <a:lnTo>
                    <a:pt x="966" y="298"/>
                  </a:lnTo>
                  <a:lnTo>
                    <a:pt x="966" y="281"/>
                  </a:lnTo>
                  <a:lnTo>
                    <a:pt x="948" y="263"/>
                  </a:lnTo>
                  <a:lnTo>
                    <a:pt x="895" y="281"/>
                  </a:lnTo>
                  <a:lnTo>
                    <a:pt x="860" y="298"/>
                  </a:lnTo>
                  <a:lnTo>
                    <a:pt x="808" y="281"/>
                  </a:lnTo>
                  <a:lnTo>
                    <a:pt x="790" y="263"/>
                  </a:lnTo>
                  <a:lnTo>
                    <a:pt x="720" y="228"/>
                  </a:lnTo>
                  <a:lnTo>
                    <a:pt x="667" y="228"/>
                  </a:lnTo>
                  <a:lnTo>
                    <a:pt x="632" y="228"/>
                  </a:lnTo>
                  <a:lnTo>
                    <a:pt x="614" y="211"/>
                  </a:lnTo>
                  <a:lnTo>
                    <a:pt x="614" y="175"/>
                  </a:lnTo>
                  <a:lnTo>
                    <a:pt x="597" y="140"/>
                  </a:lnTo>
                  <a:lnTo>
                    <a:pt x="579" y="123"/>
                  </a:lnTo>
                  <a:lnTo>
                    <a:pt x="509" y="88"/>
                  </a:lnTo>
                  <a:lnTo>
                    <a:pt x="404" y="52"/>
                  </a:lnTo>
                  <a:lnTo>
                    <a:pt x="333" y="35"/>
                  </a:lnTo>
                  <a:lnTo>
                    <a:pt x="281" y="35"/>
                  </a:lnTo>
                  <a:lnTo>
                    <a:pt x="263" y="17"/>
                  </a:lnTo>
                  <a:lnTo>
                    <a:pt x="210" y="0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4" name="Freeform 22"/>
            <p:cNvSpPr>
              <a:spLocks/>
            </p:cNvSpPr>
            <p:nvPr/>
          </p:nvSpPr>
          <p:spPr bwMode="auto">
            <a:xfrm>
              <a:off x="4735632" y="5192329"/>
              <a:ext cx="340696" cy="574767"/>
            </a:xfrm>
            <a:custGeom>
              <a:avLst/>
              <a:gdLst>
                <a:gd name="T0" fmla="*/ 439 w 562"/>
                <a:gd name="T1" fmla="*/ 948 h 948"/>
                <a:gd name="T2" fmla="*/ 527 w 562"/>
                <a:gd name="T3" fmla="*/ 878 h 948"/>
                <a:gd name="T4" fmla="*/ 527 w 562"/>
                <a:gd name="T5" fmla="*/ 843 h 948"/>
                <a:gd name="T6" fmla="*/ 492 w 562"/>
                <a:gd name="T7" fmla="*/ 702 h 948"/>
                <a:gd name="T8" fmla="*/ 510 w 562"/>
                <a:gd name="T9" fmla="*/ 667 h 948"/>
                <a:gd name="T10" fmla="*/ 545 w 562"/>
                <a:gd name="T11" fmla="*/ 597 h 948"/>
                <a:gd name="T12" fmla="*/ 562 w 562"/>
                <a:gd name="T13" fmla="*/ 562 h 948"/>
                <a:gd name="T14" fmla="*/ 545 w 562"/>
                <a:gd name="T15" fmla="*/ 527 h 948"/>
                <a:gd name="T16" fmla="*/ 492 w 562"/>
                <a:gd name="T17" fmla="*/ 527 h 948"/>
                <a:gd name="T18" fmla="*/ 457 w 562"/>
                <a:gd name="T19" fmla="*/ 527 h 948"/>
                <a:gd name="T20" fmla="*/ 457 w 562"/>
                <a:gd name="T21" fmla="*/ 509 h 948"/>
                <a:gd name="T22" fmla="*/ 492 w 562"/>
                <a:gd name="T23" fmla="*/ 386 h 948"/>
                <a:gd name="T24" fmla="*/ 475 w 562"/>
                <a:gd name="T25" fmla="*/ 351 h 948"/>
                <a:gd name="T26" fmla="*/ 457 w 562"/>
                <a:gd name="T27" fmla="*/ 316 h 948"/>
                <a:gd name="T28" fmla="*/ 492 w 562"/>
                <a:gd name="T29" fmla="*/ 281 h 948"/>
                <a:gd name="T30" fmla="*/ 510 w 562"/>
                <a:gd name="T31" fmla="*/ 263 h 948"/>
                <a:gd name="T32" fmla="*/ 545 w 562"/>
                <a:gd name="T33" fmla="*/ 228 h 948"/>
                <a:gd name="T34" fmla="*/ 562 w 562"/>
                <a:gd name="T35" fmla="*/ 193 h 948"/>
                <a:gd name="T36" fmla="*/ 527 w 562"/>
                <a:gd name="T37" fmla="*/ 105 h 948"/>
                <a:gd name="T38" fmla="*/ 492 w 562"/>
                <a:gd name="T39" fmla="*/ 52 h 948"/>
                <a:gd name="T40" fmla="*/ 475 w 562"/>
                <a:gd name="T41" fmla="*/ 0 h 948"/>
                <a:gd name="T42" fmla="*/ 439 w 562"/>
                <a:gd name="T43" fmla="*/ 0 h 948"/>
                <a:gd name="T44" fmla="*/ 404 w 562"/>
                <a:gd name="T45" fmla="*/ 35 h 948"/>
                <a:gd name="T46" fmla="*/ 387 w 562"/>
                <a:gd name="T47" fmla="*/ 52 h 948"/>
                <a:gd name="T48" fmla="*/ 352 w 562"/>
                <a:gd name="T49" fmla="*/ 17 h 948"/>
                <a:gd name="T50" fmla="*/ 317 w 562"/>
                <a:gd name="T51" fmla="*/ 17 h 948"/>
                <a:gd name="T52" fmla="*/ 281 w 562"/>
                <a:gd name="T53" fmla="*/ 52 h 948"/>
                <a:gd name="T54" fmla="*/ 281 w 562"/>
                <a:gd name="T55" fmla="*/ 52 h 948"/>
                <a:gd name="T56" fmla="*/ 246 w 562"/>
                <a:gd name="T57" fmla="*/ 17 h 948"/>
                <a:gd name="T58" fmla="*/ 194 w 562"/>
                <a:gd name="T59" fmla="*/ 35 h 948"/>
                <a:gd name="T60" fmla="*/ 158 w 562"/>
                <a:gd name="T61" fmla="*/ 52 h 948"/>
                <a:gd name="T62" fmla="*/ 123 w 562"/>
                <a:gd name="T63" fmla="*/ 87 h 948"/>
                <a:gd name="T64" fmla="*/ 88 w 562"/>
                <a:gd name="T65" fmla="*/ 105 h 948"/>
                <a:gd name="T66" fmla="*/ 0 w 562"/>
                <a:gd name="T67" fmla="*/ 123 h 948"/>
                <a:gd name="T68" fmla="*/ 0 w 562"/>
                <a:gd name="T69" fmla="*/ 175 h 948"/>
                <a:gd name="T70" fmla="*/ 0 w 562"/>
                <a:gd name="T71" fmla="*/ 175 h 948"/>
                <a:gd name="T72" fmla="*/ 18 w 562"/>
                <a:gd name="T73" fmla="*/ 246 h 948"/>
                <a:gd name="T74" fmla="*/ 18 w 562"/>
                <a:gd name="T75" fmla="*/ 263 h 948"/>
                <a:gd name="T76" fmla="*/ 53 w 562"/>
                <a:gd name="T77" fmla="*/ 386 h 948"/>
                <a:gd name="T78" fmla="*/ 35 w 562"/>
                <a:gd name="T79" fmla="*/ 404 h 948"/>
                <a:gd name="T80" fmla="*/ 35 w 562"/>
                <a:gd name="T81" fmla="*/ 421 h 948"/>
                <a:gd name="T82" fmla="*/ 71 w 562"/>
                <a:gd name="T83" fmla="*/ 509 h 948"/>
                <a:gd name="T84" fmla="*/ 158 w 562"/>
                <a:gd name="T85" fmla="*/ 562 h 948"/>
                <a:gd name="T86" fmla="*/ 194 w 562"/>
                <a:gd name="T87" fmla="*/ 632 h 948"/>
                <a:gd name="T88" fmla="*/ 264 w 562"/>
                <a:gd name="T89" fmla="*/ 685 h 948"/>
                <a:gd name="T90" fmla="*/ 246 w 562"/>
                <a:gd name="T91" fmla="*/ 720 h 948"/>
                <a:gd name="T92" fmla="*/ 229 w 562"/>
                <a:gd name="T93" fmla="*/ 737 h 948"/>
                <a:gd name="T94" fmla="*/ 264 w 562"/>
                <a:gd name="T95" fmla="*/ 790 h 948"/>
                <a:gd name="T96" fmla="*/ 264 w 562"/>
                <a:gd name="T97" fmla="*/ 825 h 948"/>
                <a:gd name="T98" fmla="*/ 264 w 562"/>
                <a:gd name="T99" fmla="*/ 860 h 948"/>
                <a:gd name="T100" fmla="*/ 352 w 562"/>
                <a:gd name="T101" fmla="*/ 878 h 948"/>
                <a:gd name="T102" fmla="*/ 439 w 562"/>
                <a:gd name="T103" fmla="*/ 913 h 948"/>
                <a:gd name="T104" fmla="*/ 439 w 562"/>
                <a:gd name="T105" fmla="*/ 948 h 948"/>
                <a:gd name="T106" fmla="*/ 439 w 562"/>
                <a:gd name="T107" fmla="*/ 948 h 9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62"/>
                <a:gd name="T163" fmla="*/ 0 h 948"/>
                <a:gd name="T164" fmla="*/ 562 w 562"/>
                <a:gd name="T165" fmla="*/ 948 h 9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62" h="948">
                  <a:moveTo>
                    <a:pt x="439" y="948"/>
                  </a:moveTo>
                  <a:lnTo>
                    <a:pt x="439" y="948"/>
                  </a:lnTo>
                  <a:lnTo>
                    <a:pt x="492" y="913"/>
                  </a:lnTo>
                  <a:lnTo>
                    <a:pt x="527" y="878"/>
                  </a:lnTo>
                  <a:lnTo>
                    <a:pt x="527" y="843"/>
                  </a:lnTo>
                  <a:lnTo>
                    <a:pt x="510" y="772"/>
                  </a:lnTo>
                  <a:lnTo>
                    <a:pt x="492" y="702"/>
                  </a:lnTo>
                  <a:lnTo>
                    <a:pt x="510" y="667"/>
                  </a:lnTo>
                  <a:lnTo>
                    <a:pt x="527" y="632"/>
                  </a:lnTo>
                  <a:lnTo>
                    <a:pt x="545" y="597"/>
                  </a:lnTo>
                  <a:lnTo>
                    <a:pt x="562" y="562"/>
                  </a:lnTo>
                  <a:lnTo>
                    <a:pt x="562" y="544"/>
                  </a:lnTo>
                  <a:lnTo>
                    <a:pt x="545" y="527"/>
                  </a:lnTo>
                  <a:lnTo>
                    <a:pt x="492" y="527"/>
                  </a:lnTo>
                  <a:lnTo>
                    <a:pt x="457" y="527"/>
                  </a:lnTo>
                  <a:lnTo>
                    <a:pt x="457" y="509"/>
                  </a:lnTo>
                  <a:lnTo>
                    <a:pt x="475" y="456"/>
                  </a:lnTo>
                  <a:lnTo>
                    <a:pt x="492" y="386"/>
                  </a:lnTo>
                  <a:lnTo>
                    <a:pt x="475" y="351"/>
                  </a:lnTo>
                  <a:lnTo>
                    <a:pt x="457" y="316"/>
                  </a:lnTo>
                  <a:lnTo>
                    <a:pt x="475" y="298"/>
                  </a:lnTo>
                  <a:lnTo>
                    <a:pt x="492" y="281"/>
                  </a:lnTo>
                  <a:lnTo>
                    <a:pt x="510" y="263"/>
                  </a:lnTo>
                  <a:lnTo>
                    <a:pt x="527" y="246"/>
                  </a:lnTo>
                  <a:lnTo>
                    <a:pt x="545" y="228"/>
                  </a:lnTo>
                  <a:lnTo>
                    <a:pt x="562" y="193"/>
                  </a:lnTo>
                  <a:lnTo>
                    <a:pt x="545" y="158"/>
                  </a:lnTo>
                  <a:lnTo>
                    <a:pt x="527" y="105"/>
                  </a:lnTo>
                  <a:lnTo>
                    <a:pt x="492" y="87"/>
                  </a:lnTo>
                  <a:lnTo>
                    <a:pt x="492" y="52"/>
                  </a:lnTo>
                  <a:lnTo>
                    <a:pt x="475" y="0"/>
                  </a:lnTo>
                  <a:lnTo>
                    <a:pt x="439" y="0"/>
                  </a:lnTo>
                  <a:lnTo>
                    <a:pt x="422" y="17"/>
                  </a:lnTo>
                  <a:lnTo>
                    <a:pt x="404" y="35"/>
                  </a:lnTo>
                  <a:lnTo>
                    <a:pt x="387" y="52"/>
                  </a:lnTo>
                  <a:lnTo>
                    <a:pt x="369" y="35"/>
                  </a:lnTo>
                  <a:lnTo>
                    <a:pt x="352" y="17"/>
                  </a:lnTo>
                  <a:lnTo>
                    <a:pt x="317" y="17"/>
                  </a:lnTo>
                  <a:lnTo>
                    <a:pt x="317" y="52"/>
                  </a:lnTo>
                  <a:lnTo>
                    <a:pt x="281" y="52"/>
                  </a:lnTo>
                  <a:lnTo>
                    <a:pt x="264" y="35"/>
                  </a:lnTo>
                  <a:lnTo>
                    <a:pt x="246" y="17"/>
                  </a:lnTo>
                  <a:lnTo>
                    <a:pt x="194" y="35"/>
                  </a:lnTo>
                  <a:lnTo>
                    <a:pt x="158" y="52"/>
                  </a:lnTo>
                  <a:lnTo>
                    <a:pt x="141" y="70"/>
                  </a:lnTo>
                  <a:lnTo>
                    <a:pt x="123" y="87"/>
                  </a:lnTo>
                  <a:lnTo>
                    <a:pt x="88" y="105"/>
                  </a:lnTo>
                  <a:lnTo>
                    <a:pt x="35" y="105"/>
                  </a:lnTo>
                  <a:lnTo>
                    <a:pt x="0" y="123"/>
                  </a:lnTo>
                  <a:lnTo>
                    <a:pt x="0" y="175"/>
                  </a:lnTo>
                  <a:lnTo>
                    <a:pt x="18" y="246"/>
                  </a:lnTo>
                  <a:lnTo>
                    <a:pt x="18" y="263"/>
                  </a:lnTo>
                  <a:lnTo>
                    <a:pt x="35" y="316"/>
                  </a:lnTo>
                  <a:lnTo>
                    <a:pt x="53" y="386"/>
                  </a:lnTo>
                  <a:lnTo>
                    <a:pt x="35" y="404"/>
                  </a:lnTo>
                  <a:lnTo>
                    <a:pt x="35" y="421"/>
                  </a:lnTo>
                  <a:lnTo>
                    <a:pt x="53" y="474"/>
                  </a:lnTo>
                  <a:lnTo>
                    <a:pt x="71" y="509"/>
                  </a:lnTo>
                  <a:lnTo>
                    <a:pt x="158" y="562"/>
                  </a:lnTo>
                  <a:lnTo>
                    <a:pt x="176" y="597"/>
                  </a:lnTo>
                  <a:lnTo>
                    <a:pt x="194" y="632"/>
                  </a:lnTo>
                  <a:lnTo>
                    <a:pt x="211" y="667"/>
                  </a:lnTo>
                  <a:lnTo>
                    <a:pt x="264" y="685"/>
                  </a:lnTo>
                  <a:lnTo>
                    <a:pt x="246" y="720"/>
                  </a:lnTo>
                  <a:lnTo>
                    <a:pt x="229" y="737"/>
                  </a:lnTo>
                  <a:lnTo>
                    <a:pt x="246" y="755"/>
                  </a:lnTo>
                  <a:lnTo>
                    <a:pt x="264" y="790"/>
                  </a:lnTo>
                  <a:lnTo>
                    <a:pt x="264" y="825"/>
                  </a:lnTo>
                  <a:lnTo>
                    <a:pt x="264" y="860"/>
                  </a:lnTo>
                  <a:lnTo>
                    <a:pt x="281" y="878"/>
                  </a:lnTo>
                  <a:lnTo>
                    <a:pt x="352" y="878"/>
                  </a:lnTo>
                  <a:lnTo>
                    <a:pt x="422" y="895"/>
                  </a:lnTo>
                  <a:lnTo>
                    <a:pt x="439" y="913"/>
                  </a:lnTo>
                  <a:lnTo>
                    <a:pt x="439" y="948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5" name="Freeform 23"/>
            <p:cNvSpPr>
              <a:spLocks/>
            </p:cNvSpPr>
            <p:nvPr/>
          </p:nvSpPr>
          <p:spPr bwMode="auto">
            <a:xfrm>
              <a:off x="5513413" y="4116360"/>
              <a:ext cx="1437349" cy="1682466"/>
            </a:xfrm>
            <a:custGeom>
              <a:avLst/>
              <a:gdLst>
                <a:gd name="T0" fmla="*/ 984 w 2371"/>
                <a:gd name="T1" fmla="*/ 88 h 2775"/>
                <a:gd name="T2" fmla="*/ 1142 w 2371"/>
                <a:gd name="T3" fmla="*/ 299 h 2775"/>
                <a:gd name="T4" fmla="*/ 1212 w 2371"/>
                <a:gd name="T5" fmla="*/ 422 h 2775"/>
                <a:gd name="T6" fmla="*/ 1317 w 2371"/>
                <a:gd name="T7" fmla="*/ 615 h 2775"/>
                <a:gd name="T8" fmla="*/ 1370 w 2371"/>
                <a:gd name="T9" fmla="*/ 984 h 2775"/>
                <a:gd name="T10" fmla="*/ 1598 w 2371"/>
                <a:gd name="T11" fmla="*/ 843 h 2775"/>
                <a:gd name="T12" fmla="*/ 1686 w 2371"/>
                <a:gd name="T13" fmla="*/ 861 h 2775"/>
                <a:gd name="T14" fmla="*/ 1844 w 2371"/>
                <a:gd name="T15" fmla="*/ 510 h 2775"/>
                <a:gd name="T16" fmla="*/ 2073 w 2371"/>
                <a:gd name="T17" fmla="*/ 633 h 2775"/>
                <a:gd name="T18" fmla="*/ 2196 w 2371"/>
                <a:gd name="T19" fmla="*/ 597 h 2775"/>
                <a:gd name="T20" fmla="*/ 2284 w 2371"/>
                <a:gd name="T21" fmla="*/ 738 h 2775"/>
                <a:gd name="T22" fmla="*/ 2336 w 2371"/>
                <a:gd name="T23" fmla="*/ 826 h 2775"/>
                <a:gd name="T24" fmla="*/ 2196 w 2371"/>
                <a:gd name="T25" fmla="*/ 861 h 2775"/>
                <a:gd name="T26" fmla="*/ 2301 w 2371"/>
                <a:gd name="T27" fmla="*/ 1072 h 2775"/>
                <a:gd name="T28" fmla="*/ 2231 w 2371"/>
                <a:gd name="T29" fmla="*/ 1212 h 2775"/>
                <a:gd name="T30" fmla="*/ 2143 w 2371"/>
                <a:gd name="T31" fmla="*/ 1142 h 2775"/>
                <a:gd name="T32" fmla="*/ 2002 w 2371"/>
                <a:gd name="T33" fmla="*/ 1300 h 2775"/>
                <a:gd name="T34" fmla="*/ 1897 w 2371"/>
                <a:gd name="T35" fmla="*/ 1353 h 2775"/>
                <a:gd name="T36" fmla="*/ 1792 w 2371"/>
                <a:gd name="T37" fmla="*/ 1318 h 2775"/>
                <a:gd name="T38" fmla="*/ 1651 w 2371"/>
                <a:gd name="T39" fmla="*/ 1335 h 2775"/>
                <a:gd name="T40" fmla="*/ 1511 w 2371"/>
                <a:gd name="T41" fmla="*/ 1423 h 2775"/>
                <a:gd name="T42" fmla="*/ 1405 w 2371"/>
                <a:gd name="T43" fmla="*/ 1528 h 2775"/>
                <a:gd name="T44" fmla="*/ 1458 w 2371"/>
                <a:gd name="T45" fmla="*/ 1669 h 2775"/>
                <a:gd name="T46" fmla="*/ 1511 w 2371"/>
                <a:gd name="T47" fmla="*/ 1915 h 2775"/>
                <a:gd name="T48" fmla="*/ 1388 w 2371"/>
                <a:gd name="T49" fmla="*/ 2371 h 2775"/>
                <a:gd name="T50" fmla="*/ 1177 w 2371"/>
                <a:gd name="T51" fmla="*/ 2635 h 2775"/>
                <a:gd name="T52" fmla="*/ 1107 w 2371"/>
                <a:gd name="T53" fmla="*/ 2775 h 2775"/>
                <a:gd name="T54" fmla="*/ 1019 w 2371"/>
                <a:gd name="T55" fmla="*/ 2705 h 2775"/>
                <a:gd name="T56" fmla="*/ 931 w 2371"/>
                <a:gd name="T57" fmla="*/ 2617 h 2775"/>
                <a:gd name="T58" fmla="*/ 808 w 2371"/>
                <a:gd name="T59" fmla="*/ 2565 h 2775"/>
                <a:gd name="T60" fmla="*/ 615 w 2371"/>
                <a:gd name="T61" fmla="*/ 2477 h 2775"/>
                <a:gd name="T62" fmla="*/ 492 w 2371"/>
                <a:gd name="T63" fmla="*/ 2477 h 2775"/>
                <a:gd name="T64" fmla="*/ 386 w 2371"/>
                <a:gd name="T65" fmla="*/ 2477 h 2775"/>
                <a:gd name="T66" fmla="*/ 175 w 2371"/>
                <a:gd name="T67" fmla="*/ 2371 h 2775"/>
                <a:gd name="T68" fmla="*/ 35 w 2371"/>
                <a:gd name="T69" fmla="*/ 2284 h 2775"/>
                <a:gd name="T70" fmla="*/ 105 w 2371"/>
                <a:gd name="T71" fmla="*/ 2196 h 2775"/>
                <a:gd name="T72" fmla="*/ 140 w 2371"/>
                <a:gd name="T73" fmla="*/ 2020 h 2775"/>
                <a:gd name="T74" fmla="*/ 175 w 2371"/>
                <a:gd name="T75" fmla="*/ 1844 h 2775"/>
                <a:gd name="T76" fmla="*/ 158 w 2371"/>
                <a:gd name="T77" fmla="*/ 1651 h 2775"/>
                <a:gd name="T78" fmla="*/ 298 w 2371"/>
                <a:gd name="T79" fmla="*/ 1511 h 2775"/>
                <a:gd name="T80" fmla="*/ 439 w 2371"/>
                <a:gd name="T81" fmla="*/ 1441 h 2775"/>
                <a:gd name="T82" fmla="*/ 527 w 2371"/>
                <a:gd name="T83" fmla="*/ 1511 h 2775"/>
                <a:gd name="T84" fmla="*/ 579 w 2371"/>
                <a:gd name="T85" fmla="*/ 1353 h 2775"/>
                <a:gd name="T86" fmla="*/ 650 w 2371"/>
                <a:gd name="T87" fmla="*/ 1212 h 2775"/>
                <a:gd name="T88" fmla="*/ 650 w 2371"/>
                <a:gd name="T89" fmla="*/ 1142 h 2775"/>
                <a:gd name="T90" fmla="*/ 790 w 2371"/>
                <a:gd name="T91" fmla="*/ 1195 h 2775"/>
                <a:gd name="T92" fmla="*/ 896 w 2371"/>
                <a:gd name="T93" fmla="*/ 1142 h 2775"/>
                <a:gd name="T94" fmla="*/ 843 w 2371"/>
                <a:gd name="T95" fmla="*/ 1001 h 2775"/>
                <a:gd name="T96" fmla="*/ 896 w 2371"/>
                <a:gd name="T97" fmla="*/ 878 h 2775"/>
                <a:gd name="T98" fmla="*/ 773 w 2371"/>
                <a:gd name="T99" fmla="*/ 756 h 2775"/>
                <a:gd name="T100" fmla="*/ 773 w 2371"/>
                <a:gd name="T101" fmla="*/ 650 h 2775"/>
                <a:gd name="T102" fmla="*/ 878 w 2371"/>
                <a:gd name="T103" fmla="*/ 510 h 2775"/>
                <a:gd name="T104" fmla="*/ 878 w 2371"/>
                <a:gd name="T105" fmla="*/ 387 h 2775"/>
                <a:gd name="T106" fmla="*/ 825 w 2371"/>
                <a:gd name="T107" fmla="*/ 264 h 2775"/>
                <a:gd name="T108" fmla="*/ 825 w 2371"/>
                <a:gd name="T109" fmla="*/ 123 h 2775"/>
                <a:gd name="T110" fmla="*/ 948 w 2371"/>
                <a:gd name="T111" fmla="*/ 0 h 277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371"/>
                <a:gd name="T169" fmla="*/ 0 h 2775"/>
                <a:gd name="T170" fmla="*/ 2371 w 2371"/>
                <a:gd name="T171" fmla="*/ 2775 h 277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371" h="2775">
                  <a:moveTo>
                    <a:pt x="984" y="0"/>
                  </a:moveTo>
                  <a:lnTo>
                    <a:pt x="984" y="0"/>
                  </a:lnTo>
                  <a:lnTo>
                    <a:pt x="1001" y="18"/>
                  </a:lnTo>
                  <a:lnTo>
                    <a:pt x="1001" y="35"/>
                  </a:lnTo>
                  <a:lnTo>
                    <a:pt x="984" y="71"/>
                  </a:lnTo>
                  <a:lnTo>
                    <a:pt x="984" y="88"/>
                  </a:lnTo>
                  <a:lnTo>
                    <a:pt x="1054" y="123"/>
                  </a:lnTo>
                  <a:lnTo>
                    <a:pt x="1089" y="141"/>
                  </a:lnTo>
                  <a:lnTo>
                    <a:pt x="1107" y="176"/>
                  </a:lnTo>
                  <a:lnTo>
                    <a:pt x="1124" y="229"/>
                  </a:lnTo>
                  <a:lnTo>
                    <a:pt x="1142" y="299"/>
                  </a:lnTo>
                  <a:lnTo>
                    <a:pt x="1159" y="316"/>
                  </a:lnTo>
                  <a:lnTo>
                    <a:pt x="1177" y="316"/>
                  </a:lnTo>
                  <a:lnTo>
                    <a:pt x="1212" y="334"/>
                  </a:lnTo>
                  <a:lnTo>
                    <a:pt x="1212" y="352"/>
                  </a:lnTo>
                  <a:lnTo>
                    <a:pt x="1212" y="422"/>
                  </a:lnTo>
                  <a:lnTo>
                    <a:pt x="1230" y="457"/>
                  </a:lnTo>
                  <a:lnTo>
                    <a:pt x="1247" y="510"/>
                  </a:lnTo>
                  <a:lnTo>
                    <a:pt x="1282" y="527"/>
                  </a:lnTo>
                  <a:lnTo>
                    <a:pt x="1335" y="562"/>
                  </a:lnTo>
                  <a:lnTo>
                    <a:pt x="1317" y="615"/>
                  </a:lnTo>
                  <a:lnTo>
                    <a:pt x="1317" y="668"/>
                  </a:lnTo>
                  <a:lnTo>
                    <a:pt x="1317" y="914"/>
                  </a:lnTo>
                  <a:lnTo>
                    <a:pt x="1317" y="966"/>
                  </a:lnTo>
                  <a:lnTo>
                    <a:pt x="1335" y="984"/>
                  </a:lnTo>
                  <a:lnTo>
                    <a:pt x="1370" y="984"/>
                  </a:lnTo>
                  <a:lnTo>
                    <a:pt x="1405" y="984"/>
                  </a:lnTo>
                  <a:lnTo>
                    <a:pt x="1440" y="966"/>
                  </a:lnTo>
                  <a:lnTo>
                    <a:pt x="1493" y="914"/>
                  </a:lnTo>
                  <a:lnTo>
                    <a:pt x="1546" y="861"/>
                  </a:lnTo>
                  <a:lnTo>
                    <a:pt x="1563" y="843"/>
                  </a:lnTo>
                  <a:lnTo>
                    <a:pt x="1598" y="843"/>
                  </a:lnTo>
                  <a:lnTo>
                    <a:pt x="1616" y="861"/>
                  </a:lnTo>
                  <a:lnTo>
                    <a:pt x="1634" y="878"/>
                  </a:lnTo>
                  <a:lnTo>
                    <a:pt x="1651" y="896"/>
                  </a:lnTo>
                  <a:lnTo>
                    <a:pt x="1669" y="896"/>
                  </a:lnTo>
                  <a:lnTo>
                    <a:pt x="1686" y="861"/>
                  </a:lnTo>
                  <a:lnTo>
                    <a:pt x="1721" y="808"/>
                  </a:lnTo>
                  <a:lnTo>
                    <a:pt x="1757" y="773"/>
                  </a:lnTo>
                  <a:lnTo>
                    <a:pt x="1774" y="720"/>
                  </a:lnTo>
                  <a:lnTo>
                    <a:pt x="1792" y="562"/>
                  </a:lnTo>
                  <a:lnTo>
                    <a:pt x="1809" y="527"/>
                  </a:lnTo>
                  <a:lnTo>
                    <a:pt x="1844" y="510"/>
                  </a:lnTo>
                  <a:lnTo>
                    <a:pt x="1915" y="510"/>
                  </a:lnTo>
                  <a:lnTo>
                    <a:pt x="1950" y="510"/>
                  </a:lnTo>
                  <a:lnTo>
                    <a:pt x="1985" y="527"/>
                  </a:lnTo>
                  <a:lnTo>
                    <a:pt x="2020" y="562"/>
                  </a:lnTo>
                  <a:lnTo>
                    <a:pt x="2055" y="615"/>
                  </a:lnTo>
                  <a:lnTo>
                    <a:pt x="2073" y="633"/>
                  </a:lnTo>
                  <a:lnTo>
                    <a:pt x="2108" y="633"/>
                  </a:lnTo>
                  <a:lnTo>
                    <a:pt x="2125" y="633"/>
                  </a:lnTo>
                  <a:lnTo>
                    <a:pt x="2143" y="597"/>
                  </a:lnTo>
                  <a:lnTo>
                    <a:pt x="2196" y="597"/>
                  </a:lnTo>
                  <a:lnTo>
                    <a:pt x="2213" y="615"/>
                  </a:lnTo>
                  <a:lnTo>
                    <a:pt x="2231" y="633"/>
                  </a:lnTo>
                  <a:lnTo>
                    <a:pt x="2248" y="685"/>
                  </a:lnTo>
                  <a:lnTo>
                    <a:pt x="2266" y="720"/>
                  </a:lnTo>
                  <a:lnTo>
                    <a:pt x="2284" y="738"/>
                  </a:lnTo>
                  <a:lnTo>
                    <a:pt x="2354" y="791"/>
                  </a:lnTo>
                  <a:lnTo>
                    <a:pt x="2371" y="791"/>
                  </a:lnTo>
                  <a:lnTo>
                    <a:pt x="2336" y="826"/>
                  </a:lnTo>
                  <a:lnTo>
                    <a:pt x="2301" y="843"/>
                  </a:lnTo>
                  <a:lnTo>
                    <a:pt x="2231" y="843"/>
                  </a:lnTo>
                  <a:lnTo>
                    <a:pt x="2213" y="843"/>
                  </a:lnTo>
                  <a:lnTo>
                    <a:pt x="2196" y="861"/>
                  </a:lnTo>
                  <a:lnTo>
                    <a:pt x="2196" y="984"/>
                  </a:lnTo>
                  <a:lnTo>
                    <a:pt x="2213" y="1019"/>
                  </a:lnTo>
                  <a:lnTo>
                    <a:pt x="2231" y="1037"/>
                  </a:lnTo>
                  <a:lnTo>
                    <a:pt x="2301" y="1054"/>
                  </a:lnTo>
                  <a:lnTo>
                    <a:pt x="2301" y="1072"/>
                  </a:lnTo>
                  <a:lnTo>
                    <a:pt x="2284" y="1089"/>
                  </a:lnTo>
                  <a:lnTo>
                    <a:pt x="2301" y="1142"/>
                  </a:lnTo>
                  <a:lnTo>
                    <a:pt x="2284" y="1142"/>
                  </a:lnTo>
                  <a:lnTo>
                    <a:pt x="2248" y="1177"/>
                  </a:lnTo>
                  <a:lnTo>
                    <a:pt x="2231" y="1212"/>
                  </a:lnTo>
                  <a:lnTo>
                    <a:pt x="2196" y="1212"/>
                  </a:lnTo>
                  <a:lnTo>
                    <a:pt x="2161" y="1212"/>
                  </a:lnTo>
                  <a:lnTo>
                    <a:pt x="2143" y="1195"/>
                  </a:lnTo>
                  <a:lnTo>
                    <a:pt x="2143" y="1160"/>
                  </a:lnTo>
                  <a:lnTo>
                    <a:pt x="2143" y="1142"/>
                  </a:lnTo>
                  <a:lnTo>
                    <a:pt x="2108" y="1142"/>
                  </a:lnTo>
                  <a:lnTo>
                    <a:pt x="2090" y="1160"/>
                  </a:lnTo>
                  <a:lnTo>
                    <a:pt x="2055" y="1212"/>
                  </a:lnTo>
                  <a:lnTo>
                    <a:pt x="2020" y="1265"/>
                  </a:lnTo>
                  <a:lnTo>
                    <a:pt x="2002" y="1300"/>
                  </a:lnTo>
                  <a:lnTo>
                    <a:pt x="1985" y="1318"/>
                  </a:lnTo>
                  <a:lnTo>
                    <a:pt x="1967" y="1335"/>
                  </a:lnTo>
                  <a:lnTo>
                    <a:pt x="1950" y="1353"/>
                  </a:lnTo>
                  <a:lnTo>
                    <a:pt x="1932" y="1353"/>
                  </a:lnTo>
                  <a:lnTo>
                    <a:pt x="1897" y="1353"/>
                  </a:lnTo>
                  <a:lnTo>
                    <a:pt x="1844" y="1353"/>
                  </a:lnTo>
                  <a:lnTo>
                    <a:pt x="1827" y="1353"/>
                  </a:lnTo>
                  <a:lnTo>
                    <a:pt x="1809" y="1353"/>
                  </a:lnTo>
                  <a:lnTo>
                    <a:pt x="1792" y="1318"/>
                  </a:lnTo>
                  <a:lnTo>
                    <a:pt x="1757" y="1335"/>
                  </a:lnTo>
                  <a:lnTo>
                    <a:pt x="1721" y="1353"/>
                  </a:lnTo>
                  <a:lnTo>
                    <a:pt x="1686" y="1335"/>
                  </a:lnTo>
                  <a:lnTo>
                    <a:pt x="1669" y="1318"/>
                  </a:lnTo>
                  <a:lnTo>
                    <a:pt x="1651" y="1335"/>
                  </a:lnTo>
                  <a:lnTo>
                    <a:pt x="1651" y="1353"/>
                  </a:lnTo>
                  <a:lnTo>
                    <a:pt x="1651" y="1405"/>
                  </a:lnTo>
                  <a:lnTo>
                    <a:pt x="1581" y="1405"/>
                  </a:lnTo>
                  <a:lnTo>
                    <a:pt x="1528" y="1405"/>
                  </a:lnTo>
                  <a:lnTo>
                    <a:pt x="1511" y="1423"/>
                  </a:lnTo>
                  <a:lnTo>
                    <a:pt x="1511" y="1441"/>
                  </a:lnTo>
                  <a:lnTo>
                    <a:pt x="1511" y="1458"/>
                  </a:lnTo>
                  <a:lnTo>
                    <a:pt x="1511" y="1476"/>
                  </a:lnTo>
                  <a:lnTo>
                    <a:pt x="1475" y="1493"/>
                  </a:lnTo>
                  <a:lnTo>
                    <a:pt x="1440" y="1493"/>
                  </a:lnTo>
                  <a:lnTo>
                    <a:pt x="1405" y="1528"/>
                  </a:lnTo>
                  <a:lnTo>
                    <a:pt x="1405" y="1546"/>
                  </a:lnTo>
                  <a:lnTo>
                    <a:pt x="1405" y="1581"/>
                  </a:lnTo>
                  <a:lnTo>
                    <a:pt x="1440" y="1599"/>
                  </a:lnTo>
                  <a:lnTo>
                    <a:pt x="1493" y="1634"/>
                  </a:lnTo>
                  <a:lnTo>
                    <a:pt x="1458" y="1669"/>
                  </a:lnTo>
                  <a:lnTo>
                    <a:pt x="1440" y="1739"/>
                  </a:lnTo>
                  <a:lnTo>
                    <a:pt x="1458" y="1792"/>
                  </a:lnTo>
                  <a:lnTo>
                    <a:pt x="1493" y="1827"/>
                  </a:lnTo>
                  <a:lnTo>
                    <a:pt x="1511" y="1897"/>
                  </a:lnTo>
                  <a:lnTo>
                    <a:pt x="1511" y="1915"/>
                  </a:lnTo>
                  <a:lnTo>
                    <a:pt x="1546" y="1950"/>
                  </a:lnTo>
                  <a:lnTo>
                    <a:pt x="1511" y="2213"/>
                  </a:lnTo>
                  <a:lnTo>
                    <a:pt x="1458" y="2284"/>
                  </a:lnTo>
                  <a:lnTo>
                    <a:pt x="1388" y="2371"/>
                  </a:lnTo>
                  <a:lnTo>
                    <a:pt x="1317" y="2442"/>
                  </a:lnTo>
                  <a:lnTo>
                    <a:pt x="1300" y="2477"/>
                  </a:lnTo>
                  <a:lnTo>
                    <a:pt x="1282" y="2529"/>
                  </a:lnTo>
                  <a:lnTo>
                    <a:pt x="1265" y="2582"/>
                  </a:lnTo>
                  <a:lnTo>
                    <a:pt x="1230" y="2617"/>
                  </a:lnTo>
                  <a:lnTo>
                    <a:pt x="1177" y="2635"/>
                  </a:lnTo>
                  <a:lnTo>
                    <a:pt x="1177" y="2670"/>
                  </a:lnTo>
                  <a:lnTo>
                    <a:pt x="1177" y="2705"/>
                  </a:lnTo>
                  <a:lnTo>
                    <a:pt x="1142" y="2740"/>
                  </a:lnTo>
                  <a:lnTo>
                    <a:pt x="1124" y="2740"/>
                  </a:lnTo>
                  <a:lnTo>
                    <a:pt x="1107" y="2775"/>
                  </a:lnTo>
                  <a:lnTo>
                    <a:pt x="1089" y="2775"/>
                  </a:lnTo>
                  <a:lnTo>
                    <a:pt x="1089" y="2758"/>
                  </a:lnTo>
                  <a:lnTo>
                    <a:pt x="1089" y="2740"/>
                  </a:lnTo>
                  <a:lnTo>
                    <a:pt x="1054" y="2705"/>
                  </a:lnTo>
                  <a:lnTo>
                    <a:pt x="1019" y="2705"/>
                  </a:lnTo>
                  <a:lnTo>
                    <a:pt x="1001" y="2705"/>
                  </a:lnTo>
                  <a:lnTo>
                    <a:pt x="1001" y="2688"/>
                  </a:lnTo>
                  <a:lnTo>
                    <a:pt x="984" y="2652"/>
                  </a:lnTo>
                  <a:lnTo>
                    <a:pt x="966" y="2635"/>
                  </a:lnTo>
                  <a:lnTo>
                    <a:pt x="931" y="2617"/>
                  </a:lnTo>
                  <a:lnTo>
                    <a:pt x="896" y="2600"/>
                  </a:lnTo>
                  <a:lnTo>
                    <a:pt x="878" y="2565"/>
                  </a:lnTo>
                  <a:lnTo>
                    <a:pt x="861" y="2582"/>
                  </a:lnTo>
                  <a:lnTo>
                    <a:pt x="843" y="2565"/>
                  </a:lnTo>
                  <a:lnTo>
                    <a:pt x="808" y="2565"/>
                  </a:lnTo>
                  <a:lnTo>
                    <a:pt x="773" y="2547"/>
                  </a:lnTo>
                  <a:lnTo>
                    <a:pt x="720" y="2512"/>
                  </a:lnTo>
                  <a:lnTo>
                    <a:pt x="667" y="2494"/>
                  </a:lnTo>
                  <a:lnTo>
                    <a:pt x="632" y="2494"/>
                  </a:lnTo>
                  <a:lnTo>
                    <a:pt x="615" y="2477"/>
                  </a:lnTo>
                  <a:lnTo>
                    <a:pt x="597" y="2424"/>
                  </a:lnTo>
                  <a:lnTo>
                    <a:pt x="579" y="2407"/>
                  </a:lnTo>
                  <a:lnTo>
                    <a:pt x="562" y="2389"/>
                  </a:lnTo>
                  <a:lnTo>
                    <a:pt x="544" y="2389"/>
                  </a:lnTo>
                  <a:lnTo>
                    <a:pt x="527" y="2424"/>
                  </a:lnTo>
                  <a:lnTo>
                    <a:pt x="492" y="2477"/>
                  </a:lnTo>
                  <a:lnTo>
                    <a:pt x="457" y="2477"/>
                  </a:lnTo>
                  <a:lnTo>
                    <a:pt x="421" y="2459"/>
                  </a:lnTo>
                  <a:lnTo>
                    <a:pt x="404" y="2459"/>
                  </a:lnTo>
                  <a:lnTo>
                    <a:pt x="386" y="2477"/>
                  </a:lnTo>
                  <a:lnTo>
                    <a:pt x="334" y="2459"/>
                  </a:lnTo>
                  <a:lnTo>
                    <a:pt x="298" y="2442"/>
                  </a:lnTo>
                  <a:lnTo>
                    <a:pt x="246" y="2407"/>
                  </a:lnTo>
                  <a:lnTo>
                    <a:pt x="211" y="2371"/>
                  </a:lnTo>
                  <a:lnTo>
                    <a:pt x="193" y="2371"/>
                  </a:lnTo>
                  <a:lnTo>
                    <a:pt x="175" y="2371"/>
                  </a:lnTo>
                  <a:lnTo>
                    <a:pt x="140" y="2371"/>
                  </a:lnTo>
                  <a:lnTo>
                    <a:pt x="105" y="2371"/>
                  </a:lnTo>
                  <a:lnTo>
                    <a:pt x="88" y="2336"/>
                  </a:lnTo>
                  <a:lnTo>
                    <a:pt x="35" y="2284"/>
                  </a:lnTo>
                  <a:lnTo>
                    <a:pt x="17" y="2266"/>
                  </a:lnTo>
                  <a:lnTo>
                    <a:pt x="0" y="2248"/>
                  </a:lnTo>
                  <a:lnTo>
                    <a:pt x="35" y="2213"/>
                  </a:lnTo>
                  <a:lnTo>
                    <a:pt x="70" y="2196"/>
                  </a:lnTo>
                  <a:lnTo>
                    <a:pt x="105" y="2196"/>
                  </a:lnTo>
                  <a:lnTo>
                    <a:pt x="123" y="2178"/>
                  </a:lnTo>
                  <a:lnTo>
                    <a:pt x="123" y="2143"/>
                  </a:lnTo>
                  <a:lnTo>
                    <a:pt x="105" y="2090"/>
                  </a:lnTo>
                  <a:lnTo>
                    <a:pt x="123" y="2055"/>
                  </a:lnTo>
                  <a:lnTo>
                    <a:pt x="140" y="2020"/>
                  </a:lnTo>
                  <a:lnTo>
                    <a:pt x="123" y="1985"/>
                  </a:lnTo>
                  <a:lnTo>
                    <a:pt x="105" y="1950"/>
                  </a:lnTo>
                  <a:lnTo>
                    <a:pt x="140" y="1862"/>
                  </a:lnTo>
                  <a:lnTo>
                    <a:pt x="175" y="1844"/>
                  </a:lnTo>
                  <a:lnTo>
                    <a:pt x="193" y="1827"/>
                  </a:lnTo>
                  <a:lnTo>
                    <a:pt x="211" y="1774"/>
                  </a:lnTo>
                  <a:lnTo>
                    <a:pt x="211" y="1739"/>
                  </a:lnTo>
                  <a:lnTo>
                    <a:pt x="193" y="1704"/>
                  </a:lnTo>
                  <a:lnTo>
                    <a:pt x="158" y="1686"/>
                  </a:lnTo>
                  <a:lnTo>
                    <a:pt x="158" y="1651"/>
                  </a:lnTo>
                  <a:lnTo>
                    <a:pt x="175" y="1546"/>
                  </a:lnTo>
                  <a:lnTo>
                    <a:pt x="193" y="1511"/>
                  </a:lnTo>
                  <a:lnTo>
                    <a:pt x="228" y="1511"/>
                  </a:lnTo>
                  <a:lnTo>
                    <a:pt x="298" y="1511"/>
                  </a:lnTo>
                  <a:lnTo>
                    <a:pt x="334" y="1493"/>
                  </a:lnTo>
                  <a:lnTo>
                    <a:pt x="351" y="1458"/>
                  </a:lnTo>
                  <a:lnTo>
                    <a:pt x="386" y="1423"/>
                  </a:lnTo>
                  <a:lnTo>
                    <a:pt x="404" y="1423"/>
                  </a:lnTo>
                  <a:lnTo>
                    <a:pt x="421" y="1423"/>
                  </a:lnTo>
                  <a:lnTo>
                    <a:pt x="439" y="1441"/>
                  </a:lnTo>
                  <a:lnTo>
                    <a:pt x="457" y="1476"/>
                  </a:lnTo>
                  <a:lnTo>
                    <a:pt x="474" y="1511"/>
                  </a:lnTo>
                  <a:lnTo>
                    <a:pt x="492" y="1528"/>
                  </a:lnTo>
                  <a:lnTo>
                    <a:pt x="509" y="1546"/>
                  </a:lnTo>
                  <a:lnTo>
                    <a:pt x="527" y="1528"/>
                  </a:lnTo>
                  <a:lnTo>
                    <a:pt x="527" y="1511"/>
                  </a:lnTo>
                  <a:lnTo>
                    <a:pt x="509" y="1458"/>
                  </a:lnTo>
                  <a:lnTo>
                    <a:pt x="527" y="1405"/>
                  </a:lnTo>
                  <a:lnTo>
                    <a:pt x="544" y="1370"/>
                  </a:lnTo>
                  <a:lnTo>
                    <a:pt x="562" y="1370"/>
                  </a:lnTo>
                  <a:lnTo>
                    <a:pt x="579" y="1353"/>
                  </a:lnTo>
                  <a:lnTo>
                    <a:pt x="579" y="1335"/>
                  </a:lnTo>
                  <a:lnTo>
                    <a:pt x="579" y="1318"/>
                  </a:lnTo>
                  <a:lnTo>
                    <a:pt x="632" y="1265"/>
                  </a:lnTo>
                  <a:lnTo>
                    <a:pt x="650" y="1247"/>
                  </a:lnTo>
                  <a:lnTo>
                    <a:pt x="650" y="1212"/>
                  </a:lnTo>
                  <a:lnTo>
                    <a:pt x="632" y="1195"/>
                  </a:lnTo>
                  <a:lnTo>
                    <a:pt x="632" y="1177"/>
                  </a:lnTo>
                  <a:lnTo>
                    <a:pt x="650" y="1142"/>
                  </a:lnTo>
                  <a:lnTo>
                    <a:pt x="667" y="1124"/>
                  </a:lnTo>
                  <a:lnTo>
                    <a:pt x="702" y="1124"/>
                  </a:lnTo>
                  <a:lnTo>
                    <a:pt x="720" y="1124"/>
                  </a:lnTo>
                  <a:lnTo>
                    <a:pt x="720" y="1160"/>
                  </a:lnTo>
                  <a:lnTo>
                    <a:pt x="790" y="1195"/>
                  </a:lnTo>
                  <a:lnTo>
                    <a:pt x="843" y="1212"/>
                  </a:lnTo>
                  <a:lnTo>
                    <a:pt x="878" y="1212"/>
                  </a:lnTo>
                  <a:lnTo>
                    <a:pt x="896" y="1177"/>
                  </a:lnTo>
                  <a:lnTo>
                    <a:pt x="896" y="1142"/>
                  </a:lnTo>
                  <a:lnTo>
                    <a:pt x="913" y="1124"/>
                  </a:lnTo>
                  <a:lnTo>
                    <a:pt x="913" y="1107"/>
                  </a:lnTo>
                  <a:lnTo>
                    <a:pt x="913" y="1072"/>
                  </a:lnTo>
                  <a:lnTo>
                    <a:pt x="878" y="1037"/>
                  </a:lnTo>
                  <a:lnTo>
                    <a:pt x="843" y="1001"/>
                  </a:lnTo>
                  <a:lnTo>
                    <a:pt x="861" y="984"/>
                  </a:lnTo>
                  <a:lnTo>
                    <a:pt x="878" y="966"/>
                  </a:lnTo>
                  <a:lnTo>
                    <a:pt x="896" y="949"/>
                  </a:lnTo>
                  <a:lnTo>
                    <a:pt x="913" y="914"/>
                  </a:lnTo>
                  <a:lnTo>
                    <a:pt x="896" y="878"/>
                  </a:lnTo>
                  <a:lnTo>
                    <a:pt x="878" y="861"/>
                  </a:lnTo>
                  <a:lnTo>
                    <a:pt x="790" y="861"/>
                  </a:lnTo>
                  <a:lnTo>
                    <a:pt x="773" y="826"/>
                  </a:lnTo>
                  <a:lnTo>
                    <a:pt x="773" y="756"/>
                  </a:lnTo>
                  <a:lnTo>
                    <a:pt x="790" y="703"/>
                  </a:lnTo>
                  <a:lnTo>
                    <a:pt x="808" y="668"/>
                  </a:lnTo>
                  <a:lnTo>
                    <a:pt x="790" y="668"/>
                  </a:lnTo>
                  <a:lnTo>
                    <a:pt x="773" y="650"/>
                  </a:lnTo>
                  <a:lnTo>
                    <a:pt x="808" y="615"/>
                  </a:lnTo>
                  <a:lnTo>
                    <a:pt x="843" y="580"/>
                  </a:lnTo>
                  <a:lnTo>
                    <a:pt x="861" y="580"/>
                  </a:lnTo>
                  <a:lnTo>
                    <a:pt x="861" y="545"/>
                  </a:lnTo>
                  <a:lnTo>
                    <a:pt x="878" y="510"/>
                  </a:lnTo>
                  <a:lnTo>
                    <a:pt x="896" y="492"/>
                  </a:lnTo>
                  <a:lnTo>
                    <a:pt x="896" y="457"/>
                  </a:lnTo>
                  <a:lnTo>
                    <a:pt x="878" y="439"/>
                  </a:lnTo>
                  <a:lnTo>
                    <a:pt x="878" y="422"/>
                  </a:lnTo>
                  <a:lnTo>
                    <a:pt x="878" y="387"/>
                  </a:lnTo>
                  <a:lnTo>
                    <a:pt x="896" y="369"/>
                  </a:lnTo>
                  <a:lnTo>
                    <a:pt x="878" y="334"/>
                  </a:lnTo>
                  <a:lnTo>
                    <a:pt x="861" y="316"/>
                  </a:lnTo>
                  <a:lnTo>
                    <a:pt x="843" y="299"/>
                  </a:lnTo>
                  <a:lnTo>
                    <a:pt x="825" y="264"/>
                  </a:lnTo>
                  <a:lnTo>
                    <a:pt x="843" y="229"/>
                  </a:lnTo>
                  <a:lnTo>
                    <a:pt x="861" y="193"/>
                  </a:lnTo>
                  <a:lnTo>
                    <a:pt x="843" y="158"/>
                  </a:lnTo>
                  <a:lnTo>
                    <a:pt x="843" y="141"/>
                  </a:lnTo>
                  <a:lnTo>
                    <a:pt x="825" y="123"/>
                  </a:lnTo>
                  <a:lnTo>
                    <a:pt x="843" y="88"/>
                  </a:lnTo>
                  <a:lnTo>
                    <a:pt x="843" y="71"/>
                  </a:lnTo>
                  <a:lnTo>
                    <a:pt x="896" y="53"/>
                  </a:lnTo>
                  <a:lnTo>
                    <a:pt x="931" y="35"/>
                  </a:lnTo>
                  <a:lnTo>
                    <a:pt x="948" y="18"/>
                  </a:lnTo>
                  <a:lnTo>
                    <a:pt x="948" y="0"/>
                  </a:lnTo>
                  <a:lnTo>
                    <a:pt x="984" y="0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6" name="Freeform 24"/>
            <p:cNvSpPr>
              <a:spLocks/>
            </p:cNvSpPr>
            <p:nvPr/>
          </p:nvSpPr>
          <p:spPr bwMode="auto">
            <a:xfrm>
              <a:off x="2850891" y="4787325"/>
              <a:ext cx="404349" cy="522019"/>
            </a:xfrm>
            <a:custGeom>
              <a:avLst/>
              <a:gdLst>
                <a:gd name="T0" fmla="*/ 105 w 667"/>
                <a:gd name="T1" fmla="*/ 843 h 861"/>
                <a:gd name="T2" fmla="*/ 211 w 667"/>
                <a:gd name="T3" fmla="*/ 861 h 861"/>
                <a:gd name="T4" fmla="*/ 246 w 667"/>
                <a:gd name="T5" fmla="*/ 738 h 861"/>
                <a:gd name="T6" fmla="*/ 316 w 667"/>
                <a:gd name="T7" fmla="*/ 738 h 861"/>
                <a:gd name="T8" fmla="*/ 404 w 667"/>
                <a:gd name="T9" fmla="*/ 773 h 861"/>
                <a:gd name="T10" fmla="*/ 421 w 667"/>
                <a:gd name="T11" fmla="*/ 738 h 861"/>
                <a:gd name="T12" fmla="*/ 351 w 667"/>
                <a:gd name="T13" fmla="*/ 668 h 861"/>
                <a:gd name="T14" fmla="*/ 351 w 667"/>
                <a:gd name="T15" fmla="*/ 650 h 861"/>
                <a:gd name="T16" fmla="*/ 386 w 667"/>
                <a:gd name="T17" fmla="*/ 633 h 861"/>
                <a:gd name="T18" fmla="*/ 351 w 667"/>
                <a:gd name="T19" fmla="*/ 597 h 861"/>
                <a:gd name="T20" fmla="*/ 404 w 667"/>
                <a:gd name="T21" fmla="*/ 545 h 861"/>
                <a:gd name="T22" fmla="*/ 509 w 667"/>
                <a:gd name="T23" fmla="*/ 597 h 861"/>
                <a:gd name="T24" fmla="*/ 632 w 667"/>
                <a:gd name="T25" fmla="*/ 597 h 861"/>
                <a:gd name="T26" fmla="*/ 632 w 667"/>
                <a:gd name="T27" fmla="*/ 562 h 861"/>
                <a:gd name="T28" fmla="*/ 650 w 667"/>
                <a:gd name="T29" fmla="*/ 510 h 861"/>
                <a:gd name="T30" fmla="*/ 615 w 667"/>
                <a:gd name="T31" fmla="*/ 474 h 861"/>
                <a:gd name="T32" fmla="*/ 580 w 667"/>
                <a:gd name="T33" fmla="*/ 439 h 861"/>
                <a:gd name="T34" fmla="*/ 562 w 667"/>
                <a:gd name="T35" fmla="*/ 387 h 861"/>
                <a:gd name="T36" fmla="*/ 667 w 667"/>
                <a:gd name="T37" fmla="*/ 246 h 861"/>
                <a:gd name="T38" fmla="*/ 650 w 667"/>
                <a:gd name="T39" fmla="*/ 141 h 861"/>
                <a:gd name="T40" fmla="*/ 597 w 667"/>
                <a:gd name="T41" fmla="*/ 88 h 861"/>
                <a:gd name="T42" fmla="*/ 492 w 667"/>
                <a:gd name="T43" fmla="*/ 71 h 861"/>
                <a:gd name="T44" fmla="*/ 404 w 667"/>
                <a:gd name="T45" fmla="*/ 0 h 861"/>
                <a:gd name="T46" fmla="*/ 369 w 667"/>
                <a:gd name="T47" fmla="*/ 0 h 861"/>
                <a:gd name="T48" fmla="*/ 334 w 667"/>
                <a:gd name="T49" fmla="*/ 106 h 861"/>
                <a:gd name="T50" fmla="*/ 351 w 667"/>
                <a:gd name="T51" fmla="*/ 158 h 861"/>
                <a:gd name="T52" fmla="*/ 298 w 667"/>
                <a:gd name="T53" fmla="*/ 176 h 861"/>
                <a:gd name="T54" fmla="*/ 228 w 667"/>
                <a:gd name="T55" fmla="*/ 211 h 861"/>
                <a:gd name="T56" fmla="*/ 193 w 667"/>
                <a:gd name="T57" fmla="*/ 193 h 861"/>
                <a:gd name="T58" fmla="*/ 158 w 667"/>
                <a:gd name="T59" fmla="*/ 176 h 861"/>
                <a:gd name="T60" fmla="*/ 158 w 667"/>
                <a:gd name="T61" fmla="*/ 158 h 861"/>
                <a:gd name="T62" fmla="*/ 158 w 667"/>
                <a:gd name="T63" fmla="*/ 106 h 861"/>
                <a:gd name="T64" fmla="*/ 105 w 667"/>
                <a:gd name="T65" fmla="*/ 106 h 861"/>
                <a:gd name="T66" fmla="*/ 52 w 667"/>
                <a:gd name="T67" fmla="*/ 158 h 861"/>
                <a:gd name="T68" fmla="*/ 88 w 667"/>
                <a:gd name="T69" fmla="*/ 281 h 861"/>
                <a:gd name="T70" fmla="*/ 158 w 667"/>
                <a:gd name="T71" fmla="*/ 299 h 861"/>
                <a:gd name="T72" fmla="*/ 263 w 667"/>
                <a:gd name="T73" fmla="*/ 299 h 861"/>
                <a:gd name="T74" fmla="*/ 316 w 667"/>
                <a:gd name="T75" fmla="*/ 281 h 861"/>
                <a:gd name="T76" fmla="*/ 281 w 667"/>
                <a:gd name="T77" fmla="*/ 369 h 861"/>
                <a:gd name="T78" fmla="*/ 211 w 667"/>
                <a:gd name="T79" fmla="*/ 422 h 861"/>
                <a:gd name="T80" fmla="*/ 105 w 667"/>
                <a:gd name="T81" fmla="*/ 474 h 861"/>
                <a:gd name="T82" fmla="*/ 88 w 667"/>
                <a:gd name="T83" fmla="*/ 527 h 861"/>
                <a:gd name="T84" fmla="*/ 70 w 667"/>
                <a:gd name="T85" fmla="*/ 597 h 861"/>
                <a:gd name="T86" fmla="*/ 0 w 667"/>
                <a:gd name="T87" fmla="*/ 685 h 861"/>
                <a:gd name="T88" fmla="*/ 35 w 667"/>
                <a:gd name="T89" fmla="*/ 720 h 861"/>
                <a:gd name="T90" fmla="*/ 70 w 667"/>
                <a:gd name="T91" fmla="*/ 720 h 861"/>
                <a:gd name="T92" fmla="*/ 140 w 667"/>
                <a:gd name="T93" fmla="*/ 773 h 861"/>
                <a:gd name="T94" fmla="*/ 105 w 667"/>
                <a:gd name="T95" fmla="*/ 826 h 861"/>
                <a:gd name="T96" fmla="*/ 105 w 667"/>
                <a:gd name="T97" fmla="*/ 861 h 8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67"/>
                <a:gd name="T148" fmla="*/ 0 h 861"/>
                <a:gd name="T149" fmla="*/ 667 w 667"/>
                <a:gd name="T150" fmla="*/ 861 h 86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67" h="861">
                  <a:moveTo>
                    <a:pt x="105" y="861"/>
                  </a:moveTo>
                  <a:lnTo>
                    <a:pt x="105" y="861"/>
                  </a:lnTo>
                  <a:lnTo>
                    <a:pt x="105" y="843"/>
                  </a:lnTo>
                  <a:lnTo>
                    <a:pt x="123" y="843"/>
                  </a:lnTo>
                  <a:lnTo>
                    <a:pt x="158" y="843"/>
                  </a:lnTo>
                  <a:lnTo>
                    <a:pt x="211" y="861"/>
                  </a:lnTo>
                  <a:lnTo>
                    <a:pt x="228" y="773"/>
                  </a:lnTo>
                  <a:lnTo>
                    <a:pt x="246" y="738"/>
                  </a:lnTo>
                  <a:lnTo>
                    <a:pt x="281" y="720"/>
                  </a:lnTo>
                  <a:lnTo>
                    <a:pt x="316" y="738"/>
                  </a:lnTo>
                  <a:lnTo>
                    <a:pt x="334" y="738"/>
                  </a:lnTo>
                  <a:lnTo>
                    <a:pt x="369" y="755"/>
                  </a:lnTo>
                  <a:lnTo>
                    <a:pt x="404" y="773"/>
                  </a:lnTo>
                  <a:lnTo>
                    <a:pt x="421" y="755"/>
                  </a:lnTo>
                  <a:lnTo>
                    <a:pt x="421" y="738"/>
                  </a:lnTo>
                  <a:lnTo>
                    <a:pt x="386" y="703"/>
                  </a:lnTo>
                  <a:lnTo>
                    <a:pt x="351" y="668"/>
                  </a:lnTo>
                  <a:lnTo>
                    <a:pt x="351" y="650"/>
                  </a:lnTo>
                  <a:lnTo>
                    <a:pt x="369" y="650"/>
                  </a:lnTo>
                  <a:lnTo>
                    <a:pt x="386" y="633"/>
                  </a:lnTo>
                  <a:lnTo>
                    <a:pt x="369" y="615"/>
                  </a:lnTo>
                  <a:lnTo>
                    <a:pt x="351" y="597"/>
                  </a:lnTo>
                  <a:lnTo>
                    <a:pt x="369" y="562"/>
                  </a:lnTo>
                  <a:lnTo>
                    <a:pt x="404" y="545"/>
                  </a:lnTo>
                  <a:lnTo>
                    <a:pt x="457" y="562"/>
                  </a:lnTo>
                  <a:lnTo>
                    <a:pt x="509" y="597"/>
                  </a:lnTo>
                  <a:lnTo>
                    <a:pt x="632" y="597"/>
                  </a:lnTo>
                  <a:lnTo>
                    <a:pt x="632" y="562"/>
                  </a:lnTo>
                  <a:lnTo>
                    <a:pt x="650" y="527"/>
                  </a:lnTo>
                  <a:lnTo>
                    <a:pt x="650" y="510"/>
                  </a:lnTo>
                  <a:lnTo>
                    <a:pt x="650" y="474"/>
                  </a:lnTo>
                  <a:lnTo>
                    <a:pt x="615" y="474"/>
                  </a:lnTo>
                  <a:lnTo>
                    <a:pt x="597" y="474"/>
                  </a:lnTo>
                  <a:lnTo>
                    <a:pt x="580" y="439"/>
                  </a:lnTo>
                  <a:lnTo>
                    <a:pt x="544" y="439"/>
                  </a:lnTo>
                  <a:lnTo>
                    <a:pt x="562" y="387"/>
                  </a:lnTo>
                  <a:lnTo>
                    <a:pt x="615" y="352"/>
                  </a:lnTo>
                  <a:lnTo>
                    <a:pt x="650" y="299"/>
                  </a:lnTo>
                  <a:lnTo>
                    <a:pt x="667" y="246"/>
                  </a:lnTo>
                  <a:lnTo>
                    <a:pt x="650" y="141"/>
                  </a:lnTo>
                  <a:lnTo>
                    <a:pt x="632" y="106"/>
                  </a:lnTo>
                  <a:lnTo>
                    <a:pt x="597" y="88"/>
                  </a:lnTo>
                  <a:lnTo>
                    <a:pt x="544" y="88"/>
                  </a:lnTo>
                  <a:lnTo>
                    <a:pt x="527" y="88"/>
                  </a:lnTo>
                  <a:lnTo>
                    <a:pt x="492" y="71"/>
                  </a:lnTo>
                  <a:lnTo>
                    <a:pt x="439" y="35"/>
                  </a:lnTo>
                  <a:lnTo>
                    <a:pt x="404" y="0"/>
                  </a:lnTo>
                  <a:lnTo>
                    <a:pt x="369" y="0"/>
                  </a:lnTo>
                  <a:lnTo>
                    <a:pt x="351" y="53"/>
                  </a:lnTo>
                  <a:lnTo>
                    <a:pt x="334" y="106"/>
                  </a:lnTo>
                  <a:lnTo>
                    <a:pt x="351" y="141"/>
                  </a:lnTo>
                  <a:lnTo>
                    <a:pt x="351" y="158"/>
                  </a:lnTo>
                  <a:lnTo>
                    <a:pt x="334" y="176"/>
                  </a:lnTo>
                  <a:lnTo>
                    <a:pt x="298" y="176"/>
                  </a:lnTo>
                  <a:lnTo>
                    <a:pt x="246" y="176"/>
                  </a:lnTo>
                  <a:lnTo>
                    <a:pt x="228" y="211"/>
                  </a:lnTo>
                  <a:lnTo>
                    <a:pt x="211" y="211"/>
                  </a:lnTo>
                  <a:lnTo>
                    <a:pt x="193" y="193"/>
                  </a:lnTo>
                  <a:lnTo>
                    <a:pt x="175" y="176"/>
                  </a:lnTo>
                  <a:lnTo>
                    <a:pt x="158" y="176"/>
                  </a:lnTo>
                  <a:lnTo>
                    <a:pt x="140" y="176"/>
                  </a:lnTo>
                  <a:lnTo>
                    <a:pt x="158" y="158"/>
                  </a:lnTo>
                  <a:lnTo>
                    <a:pt x="158" y="123"/>
                  </a:lnTo>
                  <a:lnTo>
                    <a:pt x="158" y="106"/>
                  </a:lnTo>
                  <a:lnTo>
                    <a:pt x="140" y="106"/>
                  </a:lnTo>
                  <a:lnTo>
                    <a:pt x="105" y="106"/>
                  </a:lnTo>
                  <a:lnTo>
                    <a:pt x="70" y="123"/>
                  </a:lnTo>
                  <a:lnTo>
                    <a:pt x="52" y="158"/>
                  </a:lnTo>
                  <a:lnTo>
                    <a:pt x="52" y="211"/>
                  </a:lnTo>
                  <a:lnTo>
                    <a:pt x="70" y="264"/>
                  </a:lnTo>
                  <a:lnTo>
                    <a:pt x="88" y="281"/>
                  </a:lnTo>
                  <a:lnTo>
                    <a:pt x="123" y="281"/>
                  </a:lnTo>
                  <a:lnTo>
                    <a:pt x="158" y="299"/>
                  </a:lnTo>
                  <a:lnTo>
                    <a:pt x="211" y="316"/>
                  </a:lnTo>
                  <a:lnTo>
                    <a:pt x="263" y="299"/>
                  </a:lnTo>
                  <a:lnTo>
                    <a:pt x="298" y="281"/>
                  </a:lnTo>
                  <a:lnTo>
                    <a:pt x="316" y="281"/>
                  </a:lnTo>
                  <a:lnTo>
                    <a:pt x="281" y="369"/>
                  </a:lnTo>
                  <a:lnTo>
                    <a:pt x="246" y="422"/>
                  </a:lnTo>
                  <a:lnTo>
                    <a:pt x="211" y="422"/>
                  </a:lnTo>
                  <a:lnTo>
                    <a:pt x="158" y="439"/>
                  </a:lnTo>
                  <a:lnTo>
                    <a:pt x="105" y="474"/>
                  </a:lnTo>
                  <a:lnTo>
                    <a:pt x="88" y="510"/>
                  </a:lnTo>
                  <a:lnTo>
                    <a:pt x="88" y="527"/>
                  </a:lnTo>
                  <a:lnTo>
                    <a:pt x="88" y="562"/>
                  </a:lnTo>
                  <a:lnTo>
                    <a:pt x="70" y="597"/>
                  </a:lnTo>
                  <a:lnTo>
                    <a:pt x="35" y="633"/>
                  </a:lnTo>
                  <a:lnTo>
                    <a:pt x="17" y="668"/>
                  </a:lnTo>
                  <a:lnTo>
                    <a:pt x="0" y="685"/>
                  </a:lnTo>
                  <a:lnTo>
                    <a:pt x="17" y="720"/>
                  </a:lnTo>
                  <a:lnTo>
                    <a:pt x="35" y="720"/>
                  </a:lnTo>
                  <a:lnTo>
                    <a:pt x="70" y="720"/>
                  </a:lnTo>
                  <a:lnTo>
                    <a:pt x="123" y="738"/>
                  </a:lnTo>
                  <a:lnTo>
                    <a:pt x="140" y="755"/>
                  </a:lnTo>
                  <a:lnTo>
                    <a:pt x="140" y="773"/>
                  </a:lnTo>
                  <a:lnTo>
                    <a:pt x="105" y="826"/>
                  </a:lnTo>
                  <a:lnTo>
                    <a:pt x="105" y="843"/>
                  </a:lnTo>
                  <a:lnTo>
                    <a:pt x="105" y="861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7" name="Freeform 25"/>
            <p:cNvSpPr>
              <a:spLocks/>
            </p:cNvSpPr>
            <p:nvPr/>
          </p:nvSpPr>
          <p:spPr bwMode="auto">
            <a:xfrm>
              <a:off x="2265282" y="4777018"/>
              <a:ext cx="723828" cy="713002"/>
            </a:xfrm>
            <a:custGeom>
              <a:avLst/>
              <a:gdLst>
                <a:gd name="T0" fmla="*/ 35 w 1194"/>
                <a:gd name="T1" fmla="*/ 386 h 1176"/>
                <a:gd name="T2" fmla="*/ 105 w 1194"/>
                <a:gd name="T3" fmla="*/ 456 h 1176"/>
                <a:gd name="T4" fmla="*/ 175 w 1194"/>
                <a:gd name="T5" fmla="*/ 456 h 1176"/>
                <a:gd name="T6" fmla="*/ 175 w 1194"/>
                <a:gd name="T7" fmla="*/ 491 h 1176"/>
                <a:gd name="T8" fmla="*/ 193 w 1194"/>
                <a:gd name="T9" fmla="*/ 544 h 1176"/>
                <a:gd name="T10" fmla="*/ 263 w 1194"/>
                <a:gd name="T11" fmla="*/ 597 h 1176"/>
                <a:gd name="T12" fmla="*/ 298 w 1194"/>
                <a:gd name="T13" fmla="*/ 737 h 1176"/>
                <a:gd name="T14" fmla="*/ 368 w 1194"/>
                <a:gd name="T15" fmla="*/ 790 h 1176"/>
                <a:gd name="T16" fmla="*/ 386 w 1194"/>
                <a:gd name="T17" fmla="*/ 843 h 1176"/>
                <a:gd name="T18" fmla="*/ 456 w 1194"/>
                <a:gd name="T19" fmla="*/ 878 h 1176"/>
                <a:gd name="T20" fmla="*/ 579 w 1194"/>
                <a:gd name="T21" fmla="*/ 860 h 1176"/>
                <a:gd name="T22" fmla="*/ 632 w 1194"/>
                <a:gd name="T23" fmla="*/ 895 h 1176"/>
                <a:gd name="T24" fmla="*/ 685 w 1194"/>
                <a:gd name="T25" fmla="*/ 948 h 1176"/>
                <a:gd name="T26" fmla="*/ 773 w 1194"/>
                <a:gd name="T27" fmla="*/ 948 h 1176"/>
                <a:gd name="T28" fmla="*/ 843 w 1194"/>
                <a:gd name="T29" fmla="*/ 1106 h 1176"/>
                <a:gd name="T30" fmla="*/ 895 w 1194"/>
                <a:gd name="T31" fmla="*/ 1124 h 1176"/>
                <a:gd name="T32" fmla="*/ 948 w 1194"/>
                <a:gd name="T33" fmla="*/ 1106 h 1176"/>
                <a:gd name="T34" fmla="*/ 1018 w 1194"/>
                <a:gd name="T35" fmla="*/ 1176 h 1176"/>
                <a:gd name="T36" fmla="*/ 1106 w 1194"/>
                <a:gd name="T37" fmla="*/ 1176 h 1176"/>
                <a:gd name="T38" fmla="*/ 1194 w 1194"/>
                <a:gd name="T39" fmla="*/ 1089 h 1176"/>
                <a:gd name="T40" fmla="*/ 1159 w 1194"/>
                <a:gd name="T41" fmla="*/ 1036 h 1176"/>
                <a:gd name="T42" fmla="*/ 1124 w 1194"/>
                <a:gd name="T43" fmla="*/ 1001 h 1176"/>
                <a:gd name="T44" fmla="*/ 1106 w 1194"/>
                <a:gd name="T45" fmla="*/ 966 h 1176"/>
                <a:gd name="T46" fmla="*/ 1089 w 1194"/>
                <a:gd name="T47" fmla="*/ 931 h 1176"/>
                <a:gd name="T48" fmla="*/ 1071 w 1194"/>
                <a:gd name="T49" fmla="*/ 895 h 1176"/>
                <a:gd name="T50" fmla="*/ 1071 w 1194"/>
                <a:gd name="T51" fmla="*/ 843 h 1176"/>
                <a:gd name="T52" fmla="*/ 1106 w 1194"/>
                <a:gd name="T53" fmla="*/ 790 h 1176"/>
                <a:gd name="T54" fmla="*/ 1089 w 1194"/>
                <a:gd name="T55" fmla="*/ 755 h 1176"/>
                <a:gd name="T56" fmla="*/ 1001 w 1194"/>
                <a:gd name="T57" fmla="*/ 737 h 1176"/>
                <a:gd name="T58" fmla="*/ 983 w 1194"/>
                <a:gd name="T59" fmla="*/ 737 h 1176"/>
                <a:gd name="T60" fmla="*/ 895 w 1194"/>
                <a:gd name="T61" fmla="*/ 808 h 1176"/>
                <a:gd name="T62" fmla="*/ 843 w 1194"/>
                <a:gd name="T63" fmla="*/ 808 h 1176"/>
                <a:gd name="T64" fmla="*/ 790 w 1194"/>
                <a:gd name="T65" fmla="*/ 772 h 1176"/>
                <a:gd name="T66" fmla="*/ 737 w 1194"/>
                <a:gd name="T67" fmla="*/ 772 h 1176"/>
                <a:gd name="T68" fmla="*/ 667 w 1194"/>
                <a:gd name="T69" fmla="*/ 737 h 1176"/>
                <a:gd name="T70" fmla="*/ 685 w 1194"/>
                <a:gd name="T71" fmla="*/ 685 h 1176"/>
                <a:gd name="T72" fmla="*/ 667 w 1194"/>
                <a:gd name="T73" fmla="*/ 632 h 1176"/>
                <a:gd name="T74" fmla="*/ 702 w 1194"/>
                <a:gd name="T75" fmla="*/ 597 h 1176"/>
                <a:gd name="T76" fmla="*/ 702 w 1194"/>
                <a:gd name="T77" fmla="*/ 544 h 1176"/>
                <a:gd name="T78" fmla="*/ 667 w 1194"/>
                <a:gd name="T79" fmla="*/ 527 h 1176"/>
                <a:gd name="T80" fmla="*/ 632 w 1194"/>
                <a:gd name="T81" fmla="*/ 527 h 1176"/>
                <a:gd name="T82" fmla="*/ 614 w 1194"/>
                <a:gd name="T83" fmla="*/ 456 h 1176"/>
                <a:gd name="T84" fmla="*/ 579 w 1194"/>
                <a:gd name="T85" fmla="*/ 316 h 1176"/>
                <a:gd name="T86" fmla="*/ 544 w 1194"/>
                <a:gd name="T87" fmla="*/ 175 h 1176"/>
                <a:gd name="T88" fmla="*/ 509 w 1194"/>
                <a:gd name="T89" fmla="*/ 88 h 1176"/>
                <a:gd name="T90" fmla="*/ 509 w 1194"/>
                <a:gd name="T91" fmla="*/ 52 h 1176"/>
                <a:gd name="T92" fmla="*/ 491 w 1194"/>
                <a:gd name="T93" fmla="*/ 0 h 1176"/>
                <a:gd name="T94" fmla="*/ 439 w 1194"/>
                <a:gd name="T95" fmla="*/ 0 h 1176"/>
                <a:gd name="T96" fmla="*/ 421 w 1194"/>
                <a:gd name="T97" fmla="*/ 70 h 1176"/>
                <a:gd name="T98" fmla="*/ 351 w 1194"/>
                <a:gd name="T99" fmla="*/ 123 h 1176"/>
                <a:gd name="T100" fmla="*/ 263 w 1194"/>
                <a:gd name="T101" fmla="*/ 210 h 1176"/>
                <a:gd name="T102" fmla="*/ 193 w 1194"/>
                <a:gd name="T103" fmla="*/ 246 h 1176"/>
                <a:gd name="T104" fmla="*/ 105 w 1194"/>
                <a:gd name="T105" fmla="*/ 316 h 1176"/>
                <a:gd name="T106" fmla="*/ 17 w 1194"/>
                <a:gd name="T107" fmla="*/ 369 h 1176"/>
                <a:gd name="T108" fmla="*/ 0 w 1194"/>
                <a:gd name="T109" fmla="*/ 369 h 117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94"/>
                <a:gd name="T166" fmla="*/ 0 h 1176"/>
                <a:gd name="T167" fmla="*/ 1194 w 1194"/>
                <a:gd name="T168" fmla="*/ 1176 h 117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94" h="1176">
                  <a:moveTo>
                    <a:pt x="0" y="369"/>
                  </a:moveTo>
                  <a:lnTo>
                    <a:pt x="0" y="369"/>
                  </a:lnTo>
                  <a:lnTo>
                    <a:pt x="35" y="386"/>
                  </a:lnTo>
                  <a:lnTo>
                    <a:pt x="52" y="421"/>
                  </a:lnTo>
                  <a:lnTo>
                    <a:pt x="70" y="439"/>
                  </a:lnTo>
                  <a:lnTo>
                    <a:pt x="105" y="456"/>
                  </a:lnTo>
                  <a:lnTo>
                    <a:pt x="140" y="456"/>
                  </a:lnTo>
                  <a:lnTo>
                    <a:pt x="175" y="456"/>
                  </a:lnTo>
                  <a:lnTo>
                    <a:pt x="175" y="474"/>
                  </a:lnTo>
                  <a:lnTo>
                    <a:pt x="175" y="491"/>
                  </a:lnTo>
                  <a:lnTo>
                    <a:pt x="175" y="527"/>
                  </a:lnTo>
                  <a:lnTo>
                    <a:pt x="193" y="544"/>
                  </a:lnTo>
                  <a:lnTo>
                    <a:pt x="228" y="562"/>
                  </a:lnTo>
                  <a:lnTo>
                    <a:pt x="263" y="579"/>
                  </a:lnTo>
                  <a:lnTo>
                    <a:pt x="263" y="597"/>
                  </a:lnTo>
                  <a:lnTo>
                    <a:pt x="281" y="685"/>
                  </a:lnTo>
                  <a:lnTo>
                    <a:pt x="298" y="737"/>
                  </a:lnTo>
                  <a:lnTo>
                    <a:pt x="333" y="772"/>
                  </a:lnTo>
                  <a:lnTo>
                    <a:pt x="368" y="790"/>
                  </a:lnTo>
                  <a:lnTo>
                    <a:pt x="386" y="808"/>
                  </a:lnTo>
                  <a:lnTo>
                    <a:pt x="386" y="843"/>
                  </a:lnTo>
                  <a:lnTo>
                    <a:pt x="404" y="860"/>
                  </a:lnTo>
                  <a:lnTo>
                    <a:pt x="439" y="878"/>
                  </a:lnTo>
                  <a:lnTo>
                    <a:pt x="456" y="878"/>
                  </a:lnTo>
                  <a:lnTo>
                    <a:pt x="509" y="878"/>
                  </a:lnTo>
                  <a:lnTo>
                    <a:pt x="579" y="860"/>
                  </a:lnTo>
                  <a:lnTo>
                    <a:pt x="614" y="860"/>
                  </a:lnTo>
                  <a:lnTo>
                    <a:pt x="632" y="895"/>
                  </a:lnTo>
                  <a:lnTo>
                    <a:pt x="650" y="913"/>
                  </a:lnTo>
                  <a:lnTo>
                    <a:pt x="685" y="948"/>
                  </a:lnTo>
                  <a:lnTo>
                    <a:pt x="773" y="948"/>
                  </a:lnTo>
                  <a:lnTo>
                    <a:pt x="790" y="983"/>
                  </a:lnTo>
                  <a:lnTo>
                    <a:pt x="808" y="1054"/>
                  </a:lnTo>
                  <a:lnTo>
                    <a:pt x="843" y="1106"/>
                  </a:lnTo>
                  <a:lnTo>
                    <a:pt x="860" y="1124"/>
                  </a:lnTo>
                  <a:lnTo>
                    <a:pt x="895" y="1124"/>
                  </a:lnTo>
                  <a:lnTo>
                    <a:pt x="913" y="1106"/>
                  </a:lnTo>
                  <a:lnTo>
                    <a:pt x="948" y="1106"/>
                  </a:lnTo>
                  <a:lnTo>
                    <a:pt x="983" y="1124"/>
                  </a:lnTo>
                  <a:lnTo>
                    <a:pt x="1001" y="1141"/>
                  </a:lnTo>
                  <a:lnTo>
                    <a:pt x="1018" y="1176"/>
                  </a:lnTo>
                  <a:lnTo>
                    <a:pt x="1054" y="1176"/>
                  </a:lnTo>
                  <a:lnTo>
                    <a:pt x="1106" y="1176"/>
                  </a:lnTo>
                  <a:lnTo>
                    <a:pt x="1141" y="1159"/>
                  </a:lnTo>
                  <a:lnTo>
                    <a:pt x="1177" y="1124"/>
                  </a:lnTo>
                  <a:lnTo>
                    <a:pt x="1194" y="1089"/>
                  </a:lnTo>
                  <a:lnTo>
                    <a:pt x="1177" y="1054"/>
                  </a:lnTo>
                  <a:lnTo>
                    <a:pt x="1159" y="1036"/>
                  </a:lnTo>
                  <a:lnTo>
                    <a:pt x="1124" y="1018"/>
                  </a:lnTo>
                  <a:lnTo>
                    <a:pt x="1124" y="1001"/>
                  </a:lnTo>
                  <a:lnTo>
                    <a:pt x="1124" y="983"/>
                  </a:lnTo>
                  <a:lnTo>
                    <a:pt x="1106" y="966"/>
                  </a:lnTo>
                  <a:lnTo>
                    <a:pt x="1071" y="966"/>
                  </a:lnTo>
                  <a:lnTo>
                    <a:pt x="1089" y="931"/>
                  </a:lnTo>
                  <a:lnTo>
                    <a:pt x="1089" y="913"/>
                  </a:lnTo>
                  <a:lnTo>
                    <a:pt x="1071" y="895"/>
                  </a:lnTo>
                  <a:lnTo>
                    <a:pt x="1071" y="878"/>
                  </a:lnTo>
                  <a:lnTo>
                    <a:pt x="1071" y="843"/>
                  </a:lnTo>
                  <a:lnTo>
                    <a:pt x="1106" y="790"/>
                  </a:lnTo>
                  <a:lnTo>
                    <a:pt x="1106" y="772"/>
                  </a:lnTo>
                  <a:lnTo>
                    <a:pt x="1089" y="755"/>
                  </a:lnTo>
                  <a:lnTo>
                    <a:pt x="1036" y="737"/>
                  </a:lnTo>
                  <a:lnTo>
                    <a:pt x="1001" y="737"/>
                  </a:lnTo>
                  <a:lnTo>
                    <a:pt x="983" y="737"/>
                  </a:lnTo>
                  <a:lnTo>
                    <a:pt x="931" y="772"/>
                  </a:lnTo>
                  <a:lnTo>
                    <a:pt x="895" y="808"/>
                  </a:lnTo>
                  <a:lnTo>
                    <a:pt x="878" y="808"/>
                  </a:lnTo>
                  <a:lnTo>
                    <a:pt x="843" y="808"/>
                  </a:lnTo>
                  <a:lnTo>
                    <a:pt x="825" y="790"/>
                  </a:lnTo>
                  <a:lnTo>
                    <a:pt x="808" y="772"/>
                  </a:lnTo>
                  <a:lnTo>
                    <a:pt x="790" y="772"/>
                  </a:lnTo>
                  <a:lnTo>
                    <a:pt x="737" y="772"/>
                  </a:lnTo>
                  <a:lnTo>
                    <a:pt x="702" y="755"/>
                  </a:lnTo>
                  <a:lnTo>
                    <a:pt x="667" y="737"/>
                  </a:lnTo>
                  <a:lnTo>
                    <a:pt x="685" y="702"/>
                  </a:lnTo>
                  <a:lnTo>
                    <a:pt x="685" y="685"/>
                  </a:lnTo>
                  <a:lnTo>
                    <a:pt x="685" y="650"/>
                  </a:lnTo>
                  <a:lnTo>
                    <a:pt x="667" y="632"/>
                  </a:lnTo>
                  <a:lnTo>
                    <a:pt x="667" y="614"/>
                  </a:lnTo>
                  <a:lnTo>
                    <a:pt x="685" y="597"/>
                  </a:lnTo>
                  <a:lnTo>
                    <a:pt x="702" y="597"/>
                  </a:lnTo>
                  <a:lnTo>
                    <a:pt x="720" y="579"/>
                  </a:lnTo>
                  <a:lnTo>
                    <a:pt x="702" y="544"/>
                  </a:lnTo>
                  <a:lnTo>
                    <a:pt x="685" y="527"/>
                  </a:lnTo>
                  <a:lnTo>
                    <a:pt x="667" y="527"/>
                  </a:lnTo>
                  <a:lnTo>
                    <a:pt x="632" y="544"/>
                  </a:lnTo>
                  <a:lnTo>
                    <a:pt x="632" y="527"/>
                  </a:lnTo>
                  <a:lnTo>
                    <a:pt x="614" y="509"/>
                  </a:lnTo>
                  <a:lnTo>
                    <a:pt x="614" y="456"/>
                  </a:lnTo>
                  <a:lnTo>
                    <a:pt x="614" y="369"/>
                  </a:lnTo>
                  <a:lnTo>
                    <a:pt x="579" y="316"/>
                  </a:lnTo>
                  <a:lnTo>
                    <a:pt x="562" y="246"/>
                  </a:lnTo>
                  <a:lnTo>
                    <a:pt x="544" y="175"/>
                  </a:lnTo>
                  <a:lnTo>
                    <a:pt x="527" y="123"/>
                  </a:lnTo>
                  <a:lnTo>
                    <a:pt x="509" y="88"/>
                  </a:lnTo>
                  <a:lnTo>
                    <a:pt x="491" y="70"/>
                  </a:lnTo>
                  <a:lnTo>
                    <a:pt x="509" y="52"/>
                  </a:lnTo>
                  <a:lnTo>
                    <a:pt x="527" y="17"/>
                  </a:lnTo>
                  <a:lnTo>
                    <a:pt x="491" y="0"/>
                  </a:lnTo>
                  <a:lnTo>
                    <a:pt x="456" y="0"/>
                  </a:lnTo>
                  <a:lnTo>
                    <a:pt x="439" y="0"/>
                  </a:lnTo>
                  <a:lnTo>
                    <a:pt x="439" y="17"/>
                  </a:lnTo>
                  <a:lnTo>
                    <a:pt x="421" y="70"/>
                  </a:lnTo>
                  <a:lnTo>
                    <a:pt x="386" y="88"/>
                  </a:lnTo>
                  <a:lnTo>
                    <a:pt x="351" y="123"/>
                  </a:lnTo>
                  <a:lnTo>
                    <a:pt x="316" y="175"/>
                  </a:lnTo>
                  <a:lnTo>
                    <a:pt x="298" y="210"/>
                  </a:lnTo>
                  <a:lnTo>
                    <a:pt x="263" y="210"/>
                  </a:lnTo>
                  <a:lnTo>
                    <a:pt x="228" y="228"/>
                  </a:lnTo>
                  <a:lnTo>
                    <a:pt x="193" y="246"/>
                  </a:lnTo>
                  <a:lnTo>
                    <a:pt x="140" y="298"/>
                  </a:lnTo>
                  <a:lnTo>
                    <a:pt x="105" y="316"/>
                  </a:lnTo>
                  <a:lnTo>
                    <a:pt x="70" y="333"/>
                  </a:lnTo>
                  <a:lnTo>
                    <a:pt x="35" y="333"/>
                  </a:lnTo>
                  <a:lnTo>
                    <a:pt x="17" y="369"/>
                  </a:lnTo>
                  <a:lnTo>
                    <a:pt x="0" y="369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8" name="Freeform 26"/>
            <p:cNvSpPr>
              <a:spLocks/>
            </p:cNvSpPr>
            <p:nvPr/>
          </p:nvSpPr>
          <p:spPr bwMode="auto">
            <a:xfrm>
              <a:off x="1977327" y="4084630"/>
              <a:ext cx="521956" cy="372871"/>
            </a:xfrm>
            <a:custGeom>
              <a:avLst/>
              <a:gdLst>
                <a:gd name="T0" fmla="*/ 387 w 861"/>
                <a:gd name="T1" fmla="*/ 597 h 615"/>
                <a:gd name="T2" fmla="*/ 422 w 861"/>
                <a:gd name="T3" fmla="*/ 562 h 615"/>
                <a:gd name="T4" fmla="*/ 457 w 861"/>
                <a:gd name="T5" fmla="*/ 527 h 615"/>
                <a:gd name="T6" fmla="*/ 475 w 861"/>
                <a:gd name="T7" fmla="*/ 457 h 615"/>
                <a:gd name="T8" fmla="*/ 527 w 861"/>
                <a:gd name="T9" fmla="*/ 422 h 615"/>
                <a:gd name="T10" fmla="*/ 510 w 861"/>
                <a:gd name="T11" fmla="*/ 369 h 615"/>
                <a:gd name="T12" fmla="*/ 527 w 861"/>
                <a:gd name="T13" fmla="*/ 334 h 615"/>
                <a:gd name="T14" fmla="*/ 580 w 861"/>
                <a:gd name="T15" fmla="*/ 281 h 615"/>
                <a:gd name="T16" fmla="*/ 615 w 861"/>
                <a:gd name="T17" fmla="*/ 281 h 615"/>
                <a:gd name="T18" fmla="*/ 685 w 861"/>
                <a:gd name="T19" fmla="*/ 316 h 615"/>
                <a:gd name="T20" fmla="*/ 685 w 861"/>
                <a:gd name="T21" fmla="*/ 299 h 615"/>
                <a:gd name="T22" fmla="*/ 685 w 861"/>
                <a:gd name="T23" fmla="*/ 299 h 615"/>
                <a:gd name="T24" fmla="*/ 738 w 861"/>
                <a:gd name="T25" fmla="*/ 228 h 615"/>
                <a:gd name="T26" fmla="*/ 756 w 861"/>
                <a:gd name="T27" fmla="*/ 228 h 615"/>
                <a:gd name="T28" fmla="*/ 808 w 861"/>
                <a:gd name="T29" fmla="*/ 246 h 615"/>
                <a:gd name="T30" fmla="*/ 826 w 861"/>
                <a:gd name="T31" fmla="*/ 228 h 615"/>
                <a:gd name="T32" fmla="*/ 861 w 861"/>
                <a:gd name="T33" fmla="*/ 228 h 615"/>
                <a:gd name="T34" fmla="*/ 861 w 861"/>
                <a:gd name="T35" fmla="*/ 193 h 615"/>
                <a:gd name="T36" fmla="*/ 773 w 861"/>
                <a:gd name="T37" fmla="*/ 88 h 615"/>
                <a:gd name="T38" fmla="*/ 703 w 861"/>
                <a:gd name="T39" fmla="*/ 70 h 615"/>
                <a:gd name="T40" fmla="*/ 685 w 861"/>
                <a:gd name="T41" fmla="*/ 53 h 615"/>
                <a:gd name="T42" fmla="*/ 668 w 861"/>
                <a:gd name="T43" fmla="*/ 0 h 615"/>
                <a:gd name="T44" fmla="*/ 650 w 861"/>
                <a:gd name="T45" fmla="*/ 0 h 615"/>
                <a:gd name="T46" fmla="*/ 615 w 861"/>
                <a:gd name="T47" fmla="*/ 18 h 615"/>
                <a:gd name="T48" fmla="*/ 562 w 861"/>
                <a:gd name="T49" fmla="*/ 53 h 615"/>
                <a:gd name="T50" fmla="*/ 475 w 861"/>
                <a:gd name="T51" fmla="*/ 35 h 615"/>
                <a:gd name="T52" fmla="*/ 422 w 861"/>
                <a:gd name="T53" fmla="*/ 35 h 615"/>
                <a:gd name="T54" fmla="*/ 422 w 861"/>
                <a:gd name="T55" fmla="*/ 35 h 615"/>
                <a:gd name="T56" fmla="*/ 352 w 861"/>
                <a:gd name="T57" fmla="*/ 105 h 615"/>
                <a:gd name="T58" fmla="*/ 334 w 861"/>
                <a:gd name="T59" fmla="*/ 88 h 615"/>
                <a:gd name="T60" fmla="*/ 316 w 861"/>
                <a:gd name="T61" fmla="*/ 70 h 615"/>
                <a:gd name="T62" fmla="*/ 264 w 861"/>
                <a:gd name="T63" fmla="*/ 105 h 615"/>
                <a:gd name="T64" fmla="*/ 246 w 861"/>
                <a:gd name="T65" fmla="*/ 105 h 615"/>
                <a:gd name="T66" fmla="*/ 211 w 861"/>
                <a:gd name="T67" fmla="*/ 176 h 615"/>
                <a:gd name="T68" fmla="*/ 35 w 861"/>
                <a:gd name="T69" fmla="*/ 228 h 615"/>
                <a:gd name="T70" fmla="*/ 0 w 861"/>
                <a:gd name="T71" fmla="*/ 281 h 615"/>
                <a:gd name="T72" fmla="*/ 18 w 861"/>
                <a:gd name="T73" fmla="*/ 316 h 615"/>
                <a:gd name="T74" fmla="*/ 53 w 861"/>
                <a:gd name="T75" fmla="*/ 316 h 615"/>
                <a:gd name="T76" fmla="*/ 53 w 861"/>
                <a:gd name="T77" fmla="*/ 351 h 615"/>
                <a:gd name="T78" fmla="*/ 35 w 861"/>
                <a:gd name="T79" fmla="*/ 369 h 615"/>
                <a:gd name="T80" fmla="*/ 35 w 861"/>
                <a:gd name="T81" fmla="*/ 386 h 615"/>
                <a:gd name="T82" fmla="*/ 106 w 861"/>
                <a:gd name="T83" fmla="*/ 422 h 615"/>
                <a:gd name="T84" fmla="*/ 141 w 861"/>
                <a:gd name="T85" fmla="*/ 422 h 615"/>
                <a:gd name="T86" fmla="*/ 158 w 861"/>
                <a:gd name="T87" fmla="*/ 545 h 615"/>
                <a:gd name="T88" fmla="*/ 176 w 861"/>
                <a:gd name="T89" fmla="*/ 580 h 615"/>
                <a:gd name="T90" fmla="*/ 211 w 861"/>
                <a:gd name="T91" fmla="*/ 615 h 615"/>
                <a:gd name="T92" fmla="*/ 246 w 861"/>
                <a:gd name="T93" fmla="*/ 597 h 615"/>
                <a:gd name="T94" fmla="*/ 316 w 861"/>
                <a:gd name="T95" fmla="*/ 562 h 615"/>
                <a:gd name="T96" fmla="*/ 352 w 861"/>
                <a:gd name="T97" fmla="*/ 545 h 615"/>
                <a:gd name="T98" fmla="*/ 387 w 861"/>
                <a:gd name="T99" fmla="*/ 597 h 615"/>
                <a:gd name="T100" fmla="*/ 387 w 861"/>
                <a:gd name="T101" fmla="*/ 597 h 61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61"/>
                <a:gd name="T154" fmla="*/ 0 h 615"/>
                <a:gd name="T155" fmla="*/ 861 w 861"/>
                <a:gd name="T156" fmla="*/ 615 h 61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61" h="615">
                  <a:moveTo>
                    <a:pt x="387" y="597"/>
                  </a:moveTo>
                  <a:lnTo>
                    <a:pt x="387" y="597"/>
                  </a:lnTo>
                  <a:lnTo>
                    <a:pt x="387" y="580"/>
                  </a:lnTo>
                  <a:lnTo>
                    <a:pt x="422" y="562"/>
                  </a:lnTo>
                  <a:lnTo>
                    <a:pt x="439" y="545"/>
                  </a:lnTo>
                  <a:lnTo>
                    <a:pt x="457" y="527"/>
                  </a:lnTo>
                  <a:lnTo>
                    <a:pt x="475" y="457"/>
                  </a:lnTo>
                  <a:lnTo>
                    <a:pt x="492" y="439"/>
                  </a:lnTo>
                  <a:lnTo>
                    <a:pt x="527" y="422"/>
                  </a:lnTo>
                  <a:lnTo>
                    <a:pt x="510" y="369"/>
                  </a:lnTo>
                  <a:lnTo>
                    <a:pt x="527" y="334"/>
                  </a:lnTo>
                  <a:lnTo>
                    <a:pt x="545" y="299"/>
                  </a:lnTo>
                  <a:lnTo>
                    <a:pt x="580" y="281"/>
                  </a:lnTo>
                  <a:lnTo>
                    <a:pt x="615" y="281"/>
                  </a:lnTo>
                  <a:lnTo>
                    <a:pt x="650" y="281"/>
                  </a:lnTo>
                  <a:lnTo>
                    <a:pt x="685" y="316"/>
                  </a:lnTo>
                  <a:lnTo>
                    <a:pt x="685" y="299"/>
                  </a:lnTo>
                  <a:lnTo>
                    <a:pt x="703" y="263"/>
                  </a:lnTo>
                  <a:lnTo>
                    <a:pt x="738" y="228"/>
                  </a:lnTo>
                  <a:lnTo>
                    <a:pt x="756" y="228"/>
                  </a:lnTo>
                  <a:lnTo>
                    <a:pt x="773" y="246"/>
                  </a:lnTo>
                  <a:lnTo>
                    <a:pt x="808" y="246"/>
                  </a:lnTo>
                  <a:lnTo>
                    <a:pt x="826" y="228"/>
                  </a:lnTo>
                  <a:lnTo>
                    <a:pt x="861" y="228"/>
                  </a:lnTo>
                  <a:lnTo>
                    <a:pt x="861" y="193"/>
                  </a:lnTo>
                  <a:lnTo>
                    <a:pt x="773" y="88"/>
                  </a:lnTo>
                  <a:lnTo>
                    <a:pt x="703" y="70"/>
                  </a:lnTo>
                  <a:lnTo>
                    <a:pt x="685" y="53"/>
                  </a:lnTo>
                  <a:lnTo>
                    <a:pt x="685" y="35"/>
                  </a:lnTo>
                  <a:lnTo>
                    <a:pt x="668" y="0"/>
                  </a:lnTo>
                  <a:lnTo>
                    <a:pt x="650" y="0"/>
                  </a:lnTo>
                  <a:lnTo>
                    <a:pt x="633" y="0"/>
                  </a:lnTo>
                  <a:lnTo>
                    <a:pt x="615" y="18"/>
                  </a:lnTo>
                  <a:lnTo>
                    <a:pt x="598" y="35"/>
                  </a:lnTo>
                  <a:lnTo>
                    <a:pt x="562" y="53"/>
                  </a:lnTo>
                  <a:lnTo>
                    <a:pt x="475" y="35"/>
                  </a:lnTo>
                  <a:lnTo>
                    <a:pt x="422" y="35"/>
                  </a:lnTo>
                  <a:lnTo>
                    <a:pt x="404" y="88"/>
                  </a:lnTo>
                  <a:lnTo>
                    <a:pt x="352" y="105"/>
                  </a:lnTo>
                  <a:lnTo>
                    <a:pt x="334" y="88"/>
                  </a:lnTo>
                  <a:lnTo>
                    <a:pt x="316" y="70"/>
                  </a:lnTo>
                  <a:lnTo>
                    <a:pt x="281" y="88"/>
                  </a:lnTo>
                  <a:lnTo>
                    <a:pt x="264" y="105"/>
                  </a:lnTo>
                  <a:lnTo>
                    <a:pt x="246" y="105"/>
                  </a:lnTo>
                  <a:lnTo>
                    <a:pt x="229" y="158"/>
                  </a:lnTo>
                  <a:lnTo>
                    <a:pt x="211" y="176"/>
                  </a:lnTo>
                  <a:lnTo>
                    <a:pt x="123" y="211"/>
                  </a:lnTo>
                  <a:lnTo>
                    <a:pt x="35" y="228"/>
                  </a:lnTo>
                  <a:lnTo>
                    <a:pt x="18" y="246"/>
                  </a:lnTo>
                  <a:lnTo>
                    <a:pt x="0" y="281"/>
                  </a:lnTo>
                  <a:lnTo>
                    <a:pt x="18" y="316"/>
                  </a:lnTo>
                  <a:lnTo>
                    <a:pt x="53" y="316"/>
                  </a:lnTo>
                  <a:lnTo>
                    <a:pt x="53" y="351"/>
                  </a:lnTo>
                  <a:lnTo>
                    <a:pt x="35" y="369"/>
                  </a:lnTo>
                  <a:lnTo>
                    <a:pt x="35" y="386"/>
                  </a:lnTo>
                  <a:lnTo>
                    <a:pt x="70" y="404"/>
                  </a:lnTo>
                  <a:lnTo>
                    <a:pt x="106" y="422"/>
                  </a:lnTo>
                  <a:lnTo>
                    <a:pt x="141" y="422"/>
                  </a:lnTo>
                  <a:lnTo>
                    <a:pt x="158" y="457"/>
                  </a:lnTo>
                  <a:lnTo>
                    <a:pt x="158" y="545"/>
                  </a:lnTo>
                  <a:lnTo>
                    <a:pt x="176" y="580"/>
                  </a:lnTo>
                  <a:lnTo>
                    <a:pt x="193" y="597"/>
                  </a:lnTo>
                  <a:lnTo>
                    <a:pt x="211" y="615"/>
                  </a:lnTo>
                  <a:lnTo>
                    <a:pt x="246" y="597"/>
                  </a:lnTo>
                  <a:lnTo>
                    <a:pt x="281" y="580"/>
                  </a:lnTo>
                  <a:lnTo>
                    <a:pt x="316" y="562"/>
                  </a:lnTo>
                  <a:lnTo>
                    <a:pt x="352" y="545"/>
                  </a:lnTo>
                  <a:lnTo>
                    <a:pt x="387" y="597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9" name="Freeform 27"/>
            <p:cNvSpPr>
              <a:spLocks/>
            </p:cNvSpPr>
            <p:nvPr/>
          </p:nvSpPr>
          <p:spPr bwMode="auto">
            <a:xfrm>
              <a:off x="2084022" y="3839687"/>
              <a:ext cx="521956" cy="298297"/>
            </a:xfrm>
            <a:custGeom>
              <a:avLst/>
              <a:gdLst>
                <a:gd name="T0" fmla="*/ 861 w 861"/>
                <a:gd name="T1" fmla="*/ 193 h 492"/>
                <a:gd name="T2" fmla="*/ 738 w 861"/>
                <a:gd name="T3" fmla="*/ 281 h 492"/>
                <a:gd name="T4" fmla="*/ 703 w 861"/>
                <a:gd name="T5" fmla="*/ 281 h 492"/>
                <a:gd name="T6" fmla="*/ 615 w 861"/>
                <a:gd name="T7" fmla="*/ 228 h 492"/>
                <a:gd name="T8" fmla="*/ 580 w 861"/>
                <a:gd name="T9" fmla="*/ 193 h 492"/>
                <a:gd name="T10" fmla="*/ 457 w 861"/>
                <a:gd name="T11" fmla="*/ 105 h 492"/>
                <a:gd name="T12" fmla="*/ 422 w 861"/>
                <a:gd name="T13" fmla="*/ 53 h 492"/>
                <a:gd name="T14" fmla="*/ 386 w 861"/>
                <a:gd name="T15" fmla="*/ 0 h 492"/>
                <a:gd name="T16" fmla="*/ 386 w 861"/>
                <a:gd name="T17" fmla="*/ 18 h 492"/>
                <a:gd name="T18" fmla="*/ 351 w 861"/>
                <a:gd name="T19" fmla="*/ 35 h 492"/>
                <a:gd name="T20" fmla="*/ 281 w 861"/>
                <a:gd name="T21" fmla="*/ 18 h 492"/>
                <a:gd name="T22" fmla="*/ 246 w 861"/>
                <a:gd name="T23" fmla="*/ 35 h 492"/>
                <a:gd name="T24" fmla="*/ 211 w 861"/>
                <a:gd name="T25" fmla="*/ 53 h 492"/>
                <a:gd name="T26" fmla="*/ 158 w 861"/>
                <a:gd name="T27" fmla="*/ 105 h 492"/>
                <a:gd name="T28" fmla="*/ 88 w 861"/>
                <a:gd name="T29" fmla="*/ 123 h 492"/>
                <a:gd name="T30" fmla="*/ 70 w 861"/>
                <a:gd name="T31" fmla="*/ 158 h 492"/>
                <a:gd name="T32" fmla="*/ 0 w 861"/>
                <a:gd name="T33" fmla="*/ 193 h 492"/>
                <a:gd name="T34" fmla="*/ 0 w 861"/>
                <a:gd name="T35" fmla="*/ 211 h 492"/>
                <a:gd name="T36" fmla="*/ 35 w 861"/>
                <a:gd name="T37" fmla="*/ 246 h 492"/>
                <a:gd name="T38" fmla="*/ 88 w 861"/>
                <a:gd name="T39" fmla="*/ 264 h 492"/>
                <a:gd name="T40" fmla="*/ 140 w 861"/>
                <a:gd name="T41" fmla="*/ 228 h 492"/>
                <a:gd name="T42" fmla="*/ 176 w 861"/>
                <a:gd name="T43" fmla="*/ 281 h 492"/>
                <a:gd name="T44" fmla="*/ 211 w 861"/>
                <a:gd name="T45" fmla="*/ 316 h 492"/>
                <a:gd name="T46" fmla="*/ 246 w 861"/>
                <a:gd name="T47" fmla="*/ 351 h 492"/>
                <a:gd name="T48" fmla="*/ 211 w 861"/>
                <a:gd name="T49" fmla="*/ 351 h 492"/>
                <a:gd name="T50" fmla="*/ 211 w 861"/>
                <a:gd name="T51" fmla="*/ 369 h 492"/>
                <a:gd name="T52" fmla="*/ 211 w 861"/>
                <a:gd name="T53" fmla="*/ 369 h 492"/>
                <a:gd name="T54" fmla="*/ 281 w 861"/>
                <a:gd name="T55" fmla="*/ 404 h 492"/>
                <a:gd name="T56" fmla="*/ 316 w 861"/>
                <a:gd name="T57" fmla="*/ 439 h 492"/>
                <a:gd name="T58" fmla="*/ 386 w 861"/>
                <a:gd name="T59" fmla="*/ 457 h 492"/>
                <a:gd name="T60" fmla="*/ 422 w 861"/>
                <a:gd name="T61" fmla="*/ 439 h 492"/>
                <a:gd name="T62" fmla="*/ 457 w 861"/>
                <a:gd name="T63" fmla="*/ 404 h 492"/>
                <a:gd name="T64" fmla="*/ 474 w 861"/>
                <a:gd name="T65" fmla="*/ 404 h 492"/>
                <a:gd name="T66" fmla="*/ 509 w 861"/>
                <a:gd name="T67" fmla="*/ 439 h 492"/>
                <a:gd name="T68" fmla="*/ 527 w 861"/>
                <a:gd name="T69" fmla="*/ 474 h 492"/>
                <a:gd name="T70" fmla="*/ 597 w 861"/>
                <a:gd name="T71" fmla="*/ 492 h 492"/>
                <a:gd name="T72" fmla="*/ 632 w 861"/>
                <a:gd name="T73" fmla="*/ 474 h 492"/>
                <a:gd name="T74" fmla="*/ 650 w 861"/>
                <a:gd name="T75" fmla="*/ 439 h 492"/>
                <a:gd name="T76" fmla="*/ 667 w 861"/>
                <a:gd name="T77" fmla="*/ 422 h 492"/>
                <a:gd name="T78" fmla="*/ 808 w 861"/>
                <a:gd name="T79" fmla="*/ 422 h 492"/>
                <a:gd name="T80" fmla="*/ 826 w 861"/>
                <a:gd name="T81" fmla="*/ 404 h 492"/>
                <a:gd name="T82" fmla="*/ 826 w 861"/>
                <a:gd name="T83" fmla="*/ 334 h 492"/>
                <a:gd name="T84" fmla="*/ 861 w 861"/>
                <a:gd name="T85" fmla="*/ 176 h 492"/>
                <a:gd name="T86" fmla="*/ 861 w 861"/>
                <a:gd name="T87" fmla="*/ 193 h 49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61"/>
                <a:gd name="T133" fmla="*/ 0 h 492"/>
                <a:gd name="T134" fmla="*/ 861 w 861"/>
                <a:gd name="T135" fmla="*/ 492 h 49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61" h="492">
                  <a:moveTo>
                    <a:pt x="861" y="193"/>
                  </a:moveTo>
                  <a:lnTo>
                    <a:pt x="861" y="193"/>
                  </a:lnTo>
                  <a:lnTo>
                    <a:pt x="808" y="246"/>
                  </a:lnTo>
                  <a:lnTo>
                    <a:pt x="738" y="281"/>
                  </a:lnTo>
                  <a:lnTo>
                    <a:pt x="703" y="281"/>
                  </a:lnTo>
                  <a:lnTo>
                    <a:pt x="650" y="264"/>
                  </a:lnTo>
                  <a:lnTo>
                    <a:pt x="615" y="228"/>
                  </a:lnTo>
                  <a:lnTo>
                    <a:pt x="580" y="193"/>
                  </a:lnTo>
                  <a:lnTo>
                    <a:pt x="492" y="141"/>
                  </a:lnTo>
                  <a:lnTo>
                    <a:pt x="457" y="105"/>
                  </a:lnTo>
                  <a:lnTo>
                    <a:pt x="422" y="53"/>
                  </a:lnTo>
                  <a:lnTo>
                    <a:pt x="404" y="35"/>
                  </a:lnTo>
                  <a:lnTo>
                    <a:pt x="386" y="0"/>
                  </a:lnTo>
                  <a:lnTo>
                    <a:pt x="386" y="18"/>
                  </a:lnTo>
                  <a:lnTo>
                    <a:pt x="351" y="35"/>
                  </a:lnTo>
                  <a:lnTo>
                    <a:pt x="316" y="35"/>
                  </a:lnTo>
                  <a:lnTo>
                    <a:pt x="281" y="18"/>
                  </a:lnTo>
                  <a:lnTo>
                    <a:pt x="246" y="35"/>
                  </a:lnTo>
                  <a:lnTo>
                    <a:pt x="211" y="53"/>
                  </a:lnTo>
                  <a:lnTo>
                    <a:pt x="193" y="70"/>
                  </a:lnTo>
                  <a:lnTo>
                    <a:pt x="158" y="105"/>
                  </a:lnTo>
                  <a:lnTo>
                    <a:pt x="123" y="123"/>
                  </a:lnTo>
                  <a:lnTo>
                    <a:pt x="88" y="123"/>
                  </a:lnTo>
                  <a:lnTo>
                    <a:pt x="70" y="158"/>
                  </a:lnTo>
                  <a:lnTo>
                    <a:pt x="35" y="176"/>
                  </a:lnTo>
                  <a:lnTo>
                    <a:pt x="0" y="193"/>
                  </a:lnTo>
                  <a:lnTo>
                    <a:pt x="0" y="211"/>
                  </a:lnTo>
                  <a:lnTo>
                    <a:pt x="0" y="228"/>
                  </a:lnTo>
                  <a:lnTo>
                    <a:pt x="35" y="246"/>
                  </a:lnTo>
                  <a:lnTo>
                    <a:pt x="88" y="264"/>
                  </a:lnTo>
                  <a:lnTo>
                    <a:pt x="123" y="246"/>
                  </a:lnTo>
                  <a:lnTo>
                    <a:pt x="140" y="228"/>
                  </a:lnTo>
                  <a:lnTo>
                    <a:pt x="176" y="281"/>
                  </a:lnTo>
                  <a:lnTo>
                    <a:pt x="211" y="316"/>
                  </a:lnTo>
                  <a:lnTo>
                    <a:pt x="246" y="351"/>
                  </a:lnTo>
                  <a:lnTo>
                    <a:pt x="228" y="351"/>
                  </a:lnTo>
                  <a:lnTo>
                    <a:pt x="211" y="351"/>
                  </a:lnTo>
                  <a:lnTo>
                    <a:pt x="211" y="369"/>
                  </a:lnTo>
                  <a:lnTo>
                    <a:pt x="246" y="386"/>
                  </a:lnTo>
                  <a:lnTo>
                    <a:pt x="281" y="404"/>
                  </a:lnTo>
                  <a:lnTo>
                    <a:pt x="299" y="404"/>
                  </a:lnTo>
                  <a:lnTo>
                    <a:pt x="316" y="439"/>
                  </a:lnTo>
                  <a:lnTo>
                    <a:pt x="386" y="457"/>
                  </a:lnTo>
                  <a:lnTo>
                    <a:pt x="422" y="439"/>
                  </a:lnTo>
                  <a:lnTo>
                    <a:pt x="439" y="422"/>
                  </a:lnTo>
                  <a:lnTo>
                    <a:pt x="457" y="404"/>
                  </a:lnTo>
                  <a:lnTo>
                    <a:pt x="474" y="404"/>
                  </a:lnTo>
                  <a:lnTo>
                    <a:pt x="492" y="404"/>
                  </a:lnTo>
                  <a:lnTo>
                    <a:pt x="509" y="439"/>
                  </a:lnTo>
                  <a:lnTo>
                    <a:pt x="509" y="457"/>
                  </a:lnTo>
                  <a:lnTo>
                    <a:pt x="527" y="474"/>
                  </a:lnTo>
                  <a:lnTo>
                    <a:pt x="597" y="492"/>
                  </a:lnTo>
                  <a:lnTo>
                    <a:pt x="632" y="474"/>
                  </a:lnTo>
                  <a:lnTo>
                    <a:pt x="650" y="439"/>
                  </a:lnTo>
                  <a:lnTo>
                    <a:pt x="667" y="422"/>
                  </a:lnTo>
                  <a:lnTo>
                    <a:pt x="755" y="439"/>
                  </a:lnTo>
                  <a:lnTo>
                    <a:pt x="808" y="422"/>
                  </a:lnTo>
                  <a:lnTo>
                    <a:pt x="826" y="404"/>
                  </a:lnTo>
                  <a:lnTo>
                    <a:pt x="826" y="334"/>
                  </a:lnTo>
                  <a:lnTo>
                    <a:pt x="843" y="281"/>
                  </a:lnTo>
                  <a:lnTo>
                    <a:pt x="861" y="176"/>
                  </a:lnTo>
                  <a:lnTo>
                    <a:pt x="861" y="193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0" name="Freeform 28"/>
            <p:cNvSpPr>
              <a:spLocks/>
            </p:cNvSpPr>
            <p:nvPr/>
          </p:nvSpPr>
          <p:spPr bwMode="auto">
            <a:xfrm>
              <a:off x="1923980" y="3732979"/>
              <a:ext cx="287955" cy="255856"/>
            </a:xfrm>
            <a:custGeom>
              <a:avLst/>
              <a:gdLst>
                <a:gd name="T0" fmla="*/ 264 w 475"/>
                <a:gd name="T1" fmla="*/ 387 h 422"/>
                <a:gd name="T2" fmla="*/ 264 w 475"/>
                <a:gd name="T3" fmla="*/ 387 h 422"/>
                <a:gd name="T4" fmla="*/ 264 w 475"/>
                <a:gd name="T5" fmla="*/ 369 h 422"/>
                <a:gd name="T6" fmla="*/ 299 w 475"/>
                <a:gd name="T7" fmla="*/ 352 h 422"/>
                <a:gd name="T8" fmla="*/ 334 w 475"/>
                <a:gd name="T9" fmla="*/ 334 h 422"/>
                <a:gd name="T10" fmla="*/ 352 w 475"/>
                <a:gd name="T11" fmla="*/ 299 h 422"/>
                <a:gd name="T12" fmla="*/ 352 w 475"/>
                <a:gd name="T13" fmla="*/ 299 h 422"/>
                <a:gd name="T14" fmla="*/ 387 w 475"/>
                <a:gd name="T15" fmla="*/ 299 h 422"/>
                <a:gd name="T16" fmla="*/ 422 w 475"/>
                <a:gd name="T17" fmla="*/ 281 h 422"/>
                <a:gd name="T18" fmla="*/ 457 w 475"/>
                <a:gd name="T19" fmla="*/ 246 h 422"/>
                <a:gd name="T20" fmla="*/ 475 w 475"/>
                <a:gd name="T21" fmla="*/ 229 h 422"/>
                <a:gd name="T22" fmla="*/ 475 w 475"/>
                <a:gd name="T23" fmla="*/ 229 h 422"/>
                <a:gd name="T24" fmla="*/ 440 w 475"/>
                <a:gd name="T25" fmla="*/ 211 h 422"/>
                <a:gd name="T26" fmla="*/ 422 w 475"/>
                <a:gd name="T27" fmla="*/ 194 h 422"/>
                <a:gd name="T28" fmla="*/ 404 w 475"/>
                <a:gd name="T29" fmla="*/ 123 h 422"/>
                <a:gd name="T30" fmla="*/ 387 w 475"/>
                <a:gd name="T31" fmla="*/ 53 h 422"/>
                <a:gd name="T32" fmla="*/ 369 w 475"/>
                <a:gd name="T33" fmla="*/ 36 h 422"/>
                <a:gd name="T34" fmla="*/ 334 w 475"/>
                <a:gd name="T35" fmla="*/ 36 h 422"/>
                <a:gd name="T36" fmla="*/ 334 w 475"/>
                <a:gd name="T37" fmla="*/ 36 h 422"/>
                <a:gd name="T38" fmla="*/ 334 w 475"/>
                <a:gd name="T39" fmla="*/ 36 h 422"/>
                <a:gd name="T40" fmla="*/ 317 w 475"/>
                <a:gd name="T41" fmla="*/ 53 h 422"/>
                <a:gd name="T42" fmla="*/ 317 w 475"/>
                <a:gd name="T43" fmla="*/ 53 h 422"/>
                <a:gd name="T44" fmla="*/ 299 w 475"/>
                <a:gd name="T45" fmla="*/ 36 h 422"/>
                <a:gd name="T46" fmla="*/ 281 w 475"/>
                <a:gd name="T47" fmla="*/ 18 h 422"/>
                <a:gd name="T48" fmla="*/ 264 w 475"/>
                <a:gd name="T49" fmla="*/ 0 h 422"/>
                <a:gd name="T50" fmla="*/ 229 w 475"/>
                <a:gd name="T51" fmla="*/ 0 h 422"/>
                <a:gd name="T52" fmla="*/ 229 w 475"/>
                <a:gd name="T53" fmla="*/ 0 h 422"/>
                <a:gd name="T54" fmla="*/ 211 w 475"/>
                <a:gd name="T55" fmla="*/ 0 h 422"/>
                <a:gd name="T56" fmla="*/ 194 w 475"/>
                <a:gd name="T57" fmla="*/ 0 h 422"/>
                <a:gd name="T58" fmla="*/ 194 w 475"/>
                <a:gd name="T59" fmla="*/ 0 h 422"/>
                <a:gd name="T60" fmla="*/ 176 w 475"/>
                <a:gd name="T61" fmla="*/ 0 h 422"/>
                <a:gd name="T62" fmla="*/ 176 w 475"/>
                <a:gd name="T63" fmla="*/ 0 h 422"/>
                <a:gd name="T64" fmla="*/ 141 w 475"/>
                <a:gd name="T65" fmla="*/ 0 h 422"/>
                <a:gd name="T66" fmla="*/ 141 w 475"/>
                <a:gd name="T67" fmla="*/ 0 h 422"/>
                <a:gd name="T68" fmla="*/ 123 w 475"/>
                <a:gd name="T69" fmla="*/ 53 h 422"/>
                <a:gd name="T70" fmla="*/ 106 w 475"/>
                <a:gd name="T71" fmla="*/ 71 h 422"/>
                <a:gd name="T72" fmla="*/ 88 w 475"/>
                <a:gd name="T73" fmla="*/ 88 h 422"/>
                <a:gd name="T74" fmla="*/ 88 w 475"/>
                <a:gd name="T75" fmla="*/ 106 h 422"/>
                <a:gd name="T76" fmla="*/ 88 w 475"/>
                <a:gd name="T77" fmla="*/ 106 h 422"/>
                <a:gd name="T78" fmla="*/ 88 w 475"/>
                <a:gd name="T79" fmla="*/ 141 h 422"/>
                <a:gd name="T80" fmla="*/ 123 w 475"/>
                <a:gd name="T81" fmla="*/ 158 h 422"/>
                <a:gd name="T82" fmla="*/ 123 w 475"/>
                <a:gd name="T83" fmla="*/ 158 h 422"/>
                <a:gd name="T84" fmla="*/ 123 w 475"/>
                <a:gd name="T85" fmla="*/ 176 h 422"/>
                <a:gd name="T86" fmla="*/ 123 w 475"/>
                <a:gd name="T87" fmla="*/ 176 h 422"/>
                <a:gd name="T88" fmla="*/ 106 w 475"/>
                <a:gd name="T89" fmla="*/ 211 h 422"/>
                <a:gd name="T90" fmla="*/ 53 w 475"/>
                <a:gd name="T91" fmla="*/ 246 h 422"/>
                <a:gd name="T92" fmla="*/ 18 w 475"/>
                <a:gd name="T93" fmla="*/ 281 h 422"/>
                <a:gd name="T94" fmla="*/ 0 w 475"/>
                <a:gd name="T95" fmla="*/ 299 h 422"/>
                <a:gd name="T96" fmla="*/ 0 w 475"/>
                <a:gd name="T97" fmla="*/ 334 h 422"/>
                <a:gd name="T98" fmla="*/ 0 w 475"/>
                <a:gd name="T99" fmla="*/ 334 h 422"/>
                <a:gd name="T100" fmla="*/ 18 w 475"/>
                <a:gd name="T101" fmla="*/ 387 h 422"/>
                <a:gd name="T102" fmla="*/ 35 w 475"/>
                <a:gd name="T103" fmla="*/ 404 h 422"/>
                <a:gd name="T104" fmla="*/ 53 w 475"/>
                <a:gd name="T105" fmla="*/ 422 h 422"/>
                <a:gd name="T106" fmla="*/ 53 w 475"/>
                <a:gd name="T107" fmla="*/ 422 h 422"/>
                <a:gd name="T108" fmla="*/ 88 w 475"/>
                <a:gd name="T109" fmla="*/ 404 h 422"/>
                <a:gd name="T110" fmla="*/ 106 w 475"/>
                <a:gd name="T111" fmla="*/ 387 h 422"/>
                <a:gd name="T112" fmla="*/ 123 w 475"/>
                <a:gd name="T113" fmla="*/ 387 h 422"/>
                <a:gd name="T114" fmla="*/ 141 w 475"/>
                <a:gd name="T115" fmla="*/ 369 h 422"/>
                <a:gd name="T116" fmla="*/ 141 w 475"/>
                <a:gd name="T117" fmla="*/ 369 h 422"/>
                <a:gd name="T118" fmla="*/ 246 w 475"/>
                <a:gd name="T119" fmla="*/ 387 h 422"/>
                <a:gd name="T120" fmla="*/ 246 w 475"/>
                <a:gd name="T121" fmla="*/ 387 h 422"/>
                <a:gd name="T122" fmla="*/ 264 w 475"/>
                <a:gd name="T123" fmla="*/ 387 h 422"/>
                <a:gd name="T124" fmla="*/ 264 w 475"/>
                <a:gd name="T125" fmla="*/ 387 h 42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75"/>
                <a:gd name="T190" fmla="*/ 0 h 422"/>
                <a:gd name="T191" fmla="*/ 475 w 475"/>
                <a:gd name="T192" fmla="*/ 422 h 42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75" h="422">
                  <a:moveTo>
                    <a:pt x="264" y="387"/>
                  </a:moveTo>
                  <a:lnTo>
                    <a:pt x="264" y="387"/>
                  </a:lnTo>
                  <a:lnTo>
                    <a:pt x="264" y="369"/>
                  </a:lnTo>
                  <a:lnTo>
                    <a:pt x="299" y="352"/>
                  </a:lnTo>
                  <a:lnTo>
                    <a:pt x="334" y="334"/>
                  </a:lnTo>
                  <a:lnTo>
                    <a:pt x="352" y="299"/>
                  </a:lnTo>
                  <a:lnTo>
                    <a:pt x="387" y="299"/>
                  </a:lnTo>
                  <a:lnTo>
                    <a:pt x="422" y="281"/>
                  </a:lnTo>
                  <a:lnTo>
                    <a:pt x="457" y="246"/>
                  </a:lnTo>
                  <a:lnTo>
                    <a:pt x="475" y="229"/>
                  </a:lnTo>
                  <a:lnTo>
                    <a:pt x="440" y="211"/>
                  </a:lnTo>
                  <a:lnTo>
                    <a:pt x="422" y="194"/>
                  </a:lnTo>
                  <a:lnTo>
                    <a:pt x="404" y="123"/>
                  </a:lnTo>
                  <a:lnTo>
                    <a:pt x="387" y="53"/>
                  </a:lnTo>
                  <a:lnTo>
                    <a:pt x="369" y="36"/>
                  </a:lnTo>
                  <a:lnTo>
                    <a:pt x="334" y="36"/>
                  </a:lnTo>
                  <a:lnTo>
                    <a:pt x="317" y="53"/>
                  </a:lnTo>
                  <a:lnTo>
                    <a:pt x="299" y="36"/>
                  </a:lnTo>
                  <a:lnTo>
                    <a:pt x="281" y="18"/>
                  </a:lnTo>
                  <a:lnTo>
                    <a:pt x="264" y="0"/>
                  </a:lnTo>
                  <a:lnTo>
                    <a:pt x="229" y="0"/>
                  </a:lnTo>
                  <a:lnTo>
                    <a:pt x="211" y="0"/>
                  </a:lnTo>
                  <a:lnTo>
                    <a:pt x="194" y="0"/>
                  </a:lnTo>
                  <a:lnTo>
                    <a:pt x="176" y="0"/>
                  </a:lnTo>
                  <a:lnTo>
                    <a:pt x="141" y="0"/>
                  </a:lnTo>
                  <a:lnTo>
                    <a:pt x="123" y="53"/>
                  </a:lnTo>
                  <a:lnTo>
                    <a:pt x="106" y="71"/>
                  </a:lnTo>
                  <a:lnTo>
                    <a:pt x="88" y="88"/>
                  </a:lnTo>
                  <a:lnTo>
                    <a:pt x="88" y="106"/>
                  </a:lnTo>
                  <a:lnTo>
                    <a:pt x="88" y="141"/>
                  </a:lnTo>
                  <a:lnTo>
                    <a:pt x="123" y="158"/>
                  </a:lnTo>
                  <a:lnTo>
                    <a:pt x="123" y="176"/>
                  </a:lnTo>
                  <a:lnTo>
                    <a:pt x="106" y="211"/>
                  </a:lnTo>
                  <a:lnTo>
                    <a:pt x="53" y="246"/>
                  </a:lnTo>
                  <a:lnTo>
                    <a:pt x="18" y="281"/>
                  </a:lnTo>
                  <a:lnTo>
                    <a:pt x="0" y="299"/>
                  </a:lnTo>
                  <a:lnTo>
                    <a:pt x="0" y="334"/>
                  </a:lnTo>
                  <a:lnTo>
                    <a:pt x="18" y="387"/>
                  </a:lnTo>
                  <a:lnTo>
                    <a:pt x="35" y="404"/>
                  </a:lnTo>
                  <a:lnTo>
                    <a:pt x="53" y="422"/>
                  </a:lnTo>
                  <a:lnTo>
                    <a:pt x="88" y="404"/>
                  </a:lnTo>
                  <a:lnTo>
                    <a:pt x="106" y="387"/>
                  </a:lnTo>
                  <a:lnTo>
                    <a:pt x="123" y="387"/>
                  </a:lnTo>
                  <a:lnTo>
                    <a:pt x="141" y="369"/>
                  </a:lnTo>
                  <a:lnTo>
                    <a:pt x="246" y="387"/>
                  </a:lnTo>
                  <a:lnTo>
                    <a:pt x="264" y="387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30"/>
            <p:cNvSpPr>
              <a:spLocks/>
            </p:cNvSpPr>
            <p:nvPr/>
          </p:nvSpPr>
          <p:spPr bwMode="auto">
            <a:xfrm>
              <a:off x="1338370" y="3648098"/>
              <a:ext cx="361914" cy="298297"/>
            </a:xfrm>
            <a:custGeom>
              <a:avLst/>
              <a:gdLst>
                <a:gd name="T0" fmla="*/ 281 w 597"/>
                <a:gd name="T1" fmla="*/ 35 h 492"/>
                <a:gd name="T2" fmla="*/ 246 w 597"/>
                <a:gd name="T3" fmla="*/ 0 h 492"/>
                <a:gd name="T4" fmla="*/ 211 w 597"/>
                <a:gd name="T5" fmla="*/ 17 h 492"/>
                <a:gd name="T6" fmla="*/ 193 w 597"/>
                <a:gd name="T7" fmla="*/ 53 h 492"/>
                <a:gd name="T8" fmla="*/ 176 w 597"/>
                <a:gd name="T9" fmla="*/ 53 h 492"/>
                <a:gd name="T10" fmla="*/ 141 w 597"/>
                <a:gd name="T11" fmla="*/ 105 h 492"/>
                <a:gd name="T12" fmla="*/ 70 w 597"/>
                <a:gd name="T13" fmla="*/ 140 h 492"/>
                <a:gd name="T14" fmla="*/ 35 w 597"/>
                <a:gd name="T15" fmla="*/ 263 h 492"/>
                <a:gd name="T16" fmla="*/ 35 w 597"/>
                <a:gd name="T17" fmla="*/ 298 h 492"/>
                <a:gd name="T18" fmla="*/ 35 w 597"/>
                <a:gd name="T19" fmla="*/ 334 h 492"/>
                <a:gd name="T20" fmla="*/ 0 w 597"/>
                <a:gd name="T21" fmla="*/ 334 h 492"/>
                <a:gd name="T22" fmla="*/ 0 w 597"/>
                <a:gd name="T23" fmla="*/ 369 h 492"/>
                <a:gd name="T24" fmla="*/ 35 w 597"/>
                <a:gd name="T25" fmla="*/ 404 h 492"/>
                <a:gd name="T26" fmla="*/ 35 w 597"/>
                <a:gd name="T27" fmla="*/ 421 h 492"/>
                <a:gd name="T28" fmla="*/ 18 w 597"/>
                <a:gd name="T29" fmla="*/ 457 h 492"/>
                <a:gd name="T30" fmla="*/ 35 w 597"/>
                <a:gd name="T31" fmla="*/ 492 h 492"/>
                <a:gd name="T32" fmla="*/ 70 w 597"/>
                <a:gd name="T33" fmla="*/ 492 h 492"/>
                <a:gd name="T34" fmla="*/ 193 w 597"/>
                <a:gd name="T35" fmla="*/ 457 h 492"/>
                <a:gd name="T36" fmla="*/ 281 w 597"/>
                <a:gd name="T37" fmla="*/ 404 h 492"/>
                <a:gd name="T38" fmla="*/ 334 w 597"/>
                <a:gd name="T39" fmla="*/ 474 h 492"/>
                <a:gd name="T40" fmla="*/ 351 w 597"/>
                <a:gd name="T41" fmla="*/ 457 h 492"/>
                <a:gd name="T42" fmla="*/ 369 w 597"/>
                <a:gd name="T43" fmla="*/ 474 h 492"/>
                <a:gd name="T44" fmla="*/ 387 w 597"/>
                <a:gd name="T45" fmla="*/ 492 h 492"/>
                <a:gd name="T46" fmla="*/ 422 w 597"/>
                <a:gd name="T47" fmla="*/ 474 h 492"/>
                <a:gd name="T48" fmla="*/ 492 w 597"/>
                <a:gd name="T49" fmla="*/ 439 h 492"/>
                <a:gd name="T50" fmla="*/ 597 w 597"/>
                <a:gd name="T51" fmla="*/ 316 h 492"/>
                <a:gd name="T52" fmla="*/ 580 w 597"/>
                <a:gd name="T53" fmla="*/ 298 h 492"/>
                <a:gd name="T54" fmla="*/ 527 w 597"/>
                <a:gd name="T55" fmla="*/ 228 h 492"/>
                <a:gd name="T56" fmla="*/ 492 w 597"/>
                <a:gd name="T57" fmla="*/ 211 h 492"/>
                <a:gd name="T58" fmla="*/ 457 w 597"/>
                <a:gd name="T59" fmla="*/ 211 h 492"/>
                <a:gd name="T60" fmla="*/ 387 w 597"/>
                <a:gd name="T61" fmla="*/ 193 h 492"/>
                <a:gd name="T62" fmla="*/ 299 w 597"/>
                <a:gd name="T63" fmla="*/ 70 h 492"/>
                <a:gd name="T64" fmla="*/ 264 w 597"/>
                <a:gd name="T65" fmla="*/ 17 h 492"/>
                <a:gd name="T66" fmla="*/ 281 w 597"/>
                <a:gd name="T67" fmla="*/ 35 h 49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97"/>
                <a:gd name="T103" fmla="*/ 0 h 492"/>
                <a:gd name="T104" fmla="*/ 597 w 597"/>
                <a:gd name="T105" fmla="*/ 492 h 49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97" h="492">
                  <a:moveTo>
                    <a:pt x="281" y="35"/>
                  </a:moveTo>
                  <a:lnTo>
                    <a:pt x="281" y="35"/>
                  </a:lnTo>
                  <a:lnTo>
                    <a:pt x="264" y="17"/>
                  </a:lnTo>
                  <a:lnTo>
                    <a:pt x="246" y="0"/>
                  </a:lnTo>
                  <a:lnTo>
                    <a:pt x="211" y="17"/>
                  </a:lnTo>
                  <a:lnTo>
                    <a:pt x="193" y="53"/>
                  </a:lnTo>
                  <a:lnTo>
                    <a:pt x="176" y="53"/>
                  </a:lnTo>
                  <a:lnTo>
                    <a:pt x="141" y="70"/>
                  </a:lnTo>
                  <a:lnTo>
                    <a:pt x="141" y="105"/>
                  </a:lnTo>
                  <a:lnTo>
                    <a:pt x="123" y="123"/>
                  </a:lnTo>
                  <a:lnTo>
                    <a:pt x="70" y="140"/>
                  </a:lnTo>
                  <a:lnTo>
                    <a:pt x="35" y="263"/>
                  </a:lnTo>
                  <a:lnTo>
                    <a:pt x="35" y="298"/>
                  </a:lnTo>
                  <a:lnTo>
                    <a:pt x="35" y="334"/>
                  </a:lnTo>
                  <a:lnTo>
                    <a:pt x="18" y="334"/>
                  </a:lnTo>
                  <a:lnTo>
                    <a:pt x="0" y="334"/>
                  </a:lnTo>
                  <a:lnTo>
                    <a:pt x="0" y="369"/>
                  </a:lnTo>
                  <a:lnTo>
                    <a:pt x="18" y="386"/>
                  </a:lnTo>
                  <a:lnTo>
                    <a:pt x="35" y="404"/>
                  </a:lnTo>
                  <a:lnTo>
                    <a:pt x="35" y="421"/>
                  </a:lnTo>
                  <a:lnTo>
                    <a:pt x="18" y="457"/>
                  </a:lnTo>
                  <a:lnTo>
                    <a:pt x="35" y="474"/>
                  </a:lnTo>
                  <a:lnTo>
                    <a:pt x="35" y="492"/>
                  </a:lnTo>
                  <a:lnTo>
                    <a:pt x="70" y="492"/>
                  </a:lnTo>
                  <a:lnTo>
                    <a:pt x="141" y="474"/>
                  </a:lnTo>
                  <a:lnTo>
                    <a:pt x="193" y="457"/>
                  </a:lnTo>
                  <a:lnTo>
                    <a:pt x="281" y="404"/>
                  </a:lnTo>
                  <a:lnTo>
                    <a:pt x="316" y="457"/>
                  </a:lnTo>
                  <a:lnTo>
                    <a:pt x="334" y="474"/>
                  </a:lnTo>
                  <a:lnTo>
                    <a:pt x="351" y="457"/>
                  </a:lnTo>
                  <a:lnTo>
                    <a:pt x="369" y="474"/>
                  </a:lnTo>
                  <a:lnTo>
                    <a:pt x="387" y="492"/>
                  </a:lnTo>
                  <a:lnTo>
                    <a:pt x="404" y="474"/>
                  </a:lnTo>
                  <a:lnTo>
                    <a:pt x="422" y="474"/>
                  </a:lnTo>
                  <a:lnTo>
                    <a:pt x="492" y="439"/>
                  </a:lnTo>
                  <a:lnTo>
                    <a:pt x="527" y="404"/>
                  </a:lnTo>
                  <a:lnTo>
                    <a:pt x="597" y="316"/>
                  </a:lnTo>
                  <a:lnTo>
                    <a:pt x="580" y="298"/>
                  </a:lnTo>
                  <a:lnTo>
                    <a:pt x="562" y="263"/>
                  </a:lnTo>
                  <a:lnTo>
                    <a:pt x="527" y="228"/>
                  </a:lnTo>
                  <a:lnTo>
                    <a:pt x="492" y="211"/>
                  </a:lnTo>
                  <a:lnTo>
                    <a:pt x="457" y="211"/>
                  </a:lnTo>
                  <a:lnTo>
                    <a:pt x="422" y="211"/>
                  </a:lnTo>
                  <a:lnTo>
                    <a:pt x="387" y="193"/>
                  </a:lnTo>
                  <a:lnTo>
                    <a:pt x="351" y="140"/>
                  </a:lnTo>
                  <a:lnTo>
                    <a:pt x="299" y="70"/>
                  </a:lnTo>
                  <a:lnTo>
                    <a:pt x="264" y="17"/>
                  </a:lnTo>
                  <a:lnTo>
                    <a:pt x="281" y="35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31"/>
            <p:cNvSpPr>
              <a:spLocks/>
            </p:cNvSpPr>
            <p:nvPr/>
          </p:nvSpPr>
          <p:spPr bwMode="auto">
            <a:xfrm>
              <a:off x="1881544" y="3914261"/>
              <a:ext cx="244913" cy="340737"/>
            </a:xfrm>
            <a:custGeom>
              <a:avLst/>
              <a:gdLst>
                <a:gd name="T0" fmla="*/ 158 w 404"/>
                <a:gd name="T1" fmla="*/ 562 h 562"/>
                <a:gd name="T2" fmla="*/ 193 w 404"/>
                <a:gd name="T3" fmla="*/ 509 h 562"/>
                <a:gd name="T4" fmla="*/ 369 w 404"/>
                <a:gd name="T5" fmla="*/ 457 h 562"/>
                <a:gd name="T6" fmla="*/ 404 w 404"/>
                <a:gd name="T7" fmla="*/ 386 h 562"/>
                <a:gd name="T8" fmla="*/ 387 w 404"/>
                <a:gd name="T9" fmla="*/ 369 h 562"/>
                <a:gd name="T10" fmla="*/ 351 w 404"/>
                <a:gd name="T11" fmla="*/ 369 h 562"/>
                <a:gd name="T12" fmla="*/ 316 w 404"/>
                <a:gd name="T13" fmla="*/ 316 h 562"/>
                <a:gd name="T14" fmla="*/ 281 w 404"/>
                <a:gd name="T15" fmla="*/ 281 h 562"/>
                <a:gd name="T16" fmla="*/ 264 w 404"/>
                <a:gd name="T17" fmla="*/ 246 h 562"/>
                <a:gd name="T18" fmla="*/ 246 w 404"/>
                <a:gd name="T19" fmla="*/ 228 h 562"/>
                <a:gd name="T20" fmla="*/ 211 w 404"/>
                <a:gd name="T21" fmla="*/ 211 h 562"/>
                <a:gd name="T22" fmla="*/ 176 w 404"/>
                <a:gd name="T23" fmla="*/ 193 h 562"/>
                <a:gd name="T24" fmla="*/ 193 w 404"/>
                <a:gd name="T25" fmla="*/ 158 h 562"/>
                <a:gd name="T26" fmla="*/ 193 w 404"/>
                <a:gd name="T27" fmla="*/ 141 h 562"/>
                <a:gd name="T28" fmla="*/ 176 w 404"/>
                <a:gd name="T29" fmla="*/ 88 h 562"/>
                <a:gd name="T30" fmla="*/ 158 w 404"/>
                <a:gd name="T31" fmla="*/ 105 h 562"/>
                <a:gd name="T32" fmla="*/ 123 w 404"/>
                <a:gd name="T33" fmla="*/ 123 h 562"/>
                <a:gd name="T34" fmla="*/ 88 w 404"/>
                <a:gd name="T35" fmla="*/ 88 h 562"/>
                <a:gd name="T36" fmla="*/ 70 w 404"/>
                <a:gd name="T37" fmla="*/ 35 h 562"/>
                <a:gd name="T38" fmla="*/ 70 w 404"/>
                <a:gd name="T39" fmla="*/ 0 h 562"/>
                <a:gd name="T40" fmla="*/ 70 w 404"/>
                <a:gd name="T41" fmla="*/ 18 h 562"/>
                <a:gd name="T42" fmla="*/ 35 w 404"/>
                <a:gd name="T43" fmla="*/ 70 h 562"/>
                <a:gd name="T44" fmla="*/ 0 w 404"/>
                <a:gd name="T45" fmla="*/ 141 h 562"/>
                <a:gd name="T46" fmla="*/ 18 w 404"/>
                <a:gd name="T47" fmla="*/ 193 h 562"/>
                <a:gd name="T48" fmla="*/ 70 w 404"/>
                <a:gd name="T49" fmla="*/ 281 h 562"/>
                <a:gd name="T50" fmla="*/ 88 w 404"/>
                <a:gd name="T51" fmla="*/ 316 h 562"/>
                <a:gd name="T52" fmla="*/ 70 w 404"/>
                <a:gd name="T53" fmla="*/ 369 h 562"/>
                <a:gd name="T54" fmla="*/ 70 w 404"/>
                <a:gd name="T55" fmla="*/ 422 h 562"/>
                <a:gd name="T56" fmla="*/ 105 w 404"/>
                <a:gd name="T57" fmla="*/ 474 h 562"/>
                <a:gd name="T58" fmla="*/ 141 w 404"/>
                <a:gd name="T59" fmla="*/ 509 h 562"/>
                <a:gd name="T60" fmla="*/ 176 w 404"/>
                <a:gd name="T61" fmla="*/ 544 h 562"/>
                <a:gd name="T62" fmla="*/ 158 w 404"/>
                <a:gd name="T63" fmla="*/ 562 h 56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04"/>
                <a:gd name="T97" fmla="*/ 0 h 562"/>
                <a:gd name="T98" fmla="*/ 404 w 404"/>
                <a:gd name="T99" fmla="*/ 562 h 56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04" h="562">
                  <a:moveTo>
                    <a:pt x="158" y="562"/>
                  </a:moveTo>
                  <a:lnTo>
                    <a:pt x="158" y="562"/>
                  </a:lnTo>
                  <a:lnTo>
                    <a:pt x="176" y="527"/>
                  </a:lnTo>
                  <a:lnTo>
                    <a:pt x="193" y="509"/>
                  </a:lnTo>
                  <a:lnTo>
                    <a:pt x="281" y="492"/>
                  </a:lnTo>
                  <a:lnTo>
                    <a:pt x="369" y="457"/>
                  </a:lnTo>
                  <a:lnTo>
                    <a:pt x="387" y="439"/>
                  </a:lnTo>
                  <a:lnTo>
                    <a:pt x="404" y="386"/>
                  </a:lnTo>
                  <a:lnTo>
                    <a:pt x="387" y="369"/>
                  </a:lnTo>
                  <a:lnTo>
                    <a:pt x="351" y="369"/>
                  </a:lnTo>
                  <a:lnTo>
                    <a:pt x="334" y="334"/>
                  </a:lnTo>
                  <a:lnTo>
                    <a:pt x="316" y="316"/>
                  </a:lnTo>
                  <a:lnTo>
                    <a:pt x="299" y="299"/>
                  </a:lnTo>
                  <a:lnTo>
                    <a:pt x="281" y="281"/>
                  </a:lnTo>
                  <a:lnTo>
                    <a:pt x="264" y="246"/>
                  </a:lnTo>
                  <a:lnTo>
                    <a:pt x="264" y="228"/>
                  </a:lnTo>
                  <a:lnTo>
                    <a:pt x="246" y="228"/>
                  </a:lnTo>
                  <a:lnTo>
                    <a:pt x="211" y="211"/>
                  </a:lnTo>
                  <a:lnTo>
                    <a:pt x="193" y="211"/>
                  </a:lnTo>
                  <a:lnTo>
                    <a:pt x="176" y="193"/>
                  </a:lnTo>
                  <a:lnTo>
                    <a:pt x="193" y="158"/>
                  </a:lnTo>
                  <a:lnTo>
                    <a:pt x="193" y="141"/>
                  </a:lnTo>
                  <a:lnTo>
                    <a:pt x="193" y="123"/>
                  </a:lnTo>
                  <a:lnTo>
                    <a:pt x="176" y="88"/>
                  </a:lnTo>
                  <a:lnTo>
                    <a:pt x="158" y="105"/>
                  </a:lnTo>
                  <a:lnTo>
                    <a:pt x="123" y="123"/>
                  </a:lnTo>
                  <a:lnTo>
                    <a:pt x="105" y="105"/>
                  </a:lnTo>
                  <a:lnTo>
                    <a:pt x="88" y="88"/>
                  </a:lnTo>
                  <a:lnTo>
                    <a:pt x="70" y="35"/>
                  </a:lnTo>
                  <a:lnTo>
                    <a:pt x="70" y="0"/>
                  </a:lnTo>
                  <a:lnTo>
                    <a:pt x="70" y="18"/>
                  </a:lnTo>
                  <a:lnTo>
                    <a:pt x="35" y="70"/>
                  </a:lnTo>
                  <a:lnTo>
                    <a:pt x="0" y="105"/>
                  </a:lnTo>
                  <a:lnTo>
                    <a:pt x="0" y="141"/>
                  </a:lnTo>
                  <a:lnTo>
                    <a:pt x="18" y="193"/>
                  </a:lnTo>
                  <a:lnTo>
                    <a:pt x="35" y="228"/>
                  </a:lnTo>
                  <a:lnTo>
                    <a:pt x="70" y="281"/>
                  </a:lnTo>
                  <a:lnTo>
                    <a:pt x="88" y="316"/>
                  </a:lnTo>
                  <a:lnTo>
                    <a:pt x="70" y="369"/>
                  </a:lnTo>
                  <a:lnTo>
                    <a:pt x="70" y="422"/>
                  </a:lnTo>
                  <a:lnTo>
                    <a:pt x="88" y="457"/>
                  </a:lnTo>
                  <a:lnTo>
                    <a:pt x="105" y="474"/>
                  </a:lnTo>
                  <a:lnTo>
                    <a:pt x="141" y="509"/>
                  </a:lnTo>
                  <a:lnTo>
                    <a:pt x="176" y="544"/>
                  </a:lnTo>
                  <a:lnTo>
                    <a:pt x="158" y="562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32"/>
            <p:cNvSpPr>
              <a:spLocks/>
            </p:cNvSpPr>
            <p:nvPr/>
          </p:nvSpPr>
          <p:spPr bwMode="auto">
            <a:xfrm>
              <a:off x="1636631" y="3828774"/>
              <a:ext cx="298261" cy="351651"/>
            </a:xfrm>
            <a:custGeom>
              <a:avLst/>
              <a:gdLst>
                <a:gd name="T0" fmla="*/ 474 w 492"/>
                <a:gd name="T1" fmla="*/ 141 h 580"/>
                <a:gd name="T2" fmla="*/ 439 w 492"/>
                <a:gd name="T3" fmla="*/ 88 h 580"/>
                <a:gd name="T4" fmla="*/ 404 w 492"/>
                <a:gd name="T5" fmla="*/ 71 h 580"/>
                <a:gd name="T6" fmla="*/ 351 w 492"/>
                <a:gd name="T7" fmla="*/ 106 h 580"/>
                <a:gd name="T8" fmla="*/ 334 w 492"/>
                <a:gd name="T9" fmla="*/ 88 h 580"/>
                <a:gd name="T10" fmla="*/ 316 w 492"/>
                <a:gd name="T11" fmla="*/ 71 h 580"/>
                <a:gd name="T12" fmla="*/ 246 w 492"/>
                <a:gd name="T13" fmla="*/ 53 h 580"/>
                <a:gd name="T14" fmla="*/ 211 w 492"/>
                <a:gd name="T15" fmla="*/ 0 h 580"/>
                <a:gd name="T16" fmla="*/ 193 w 492"/>
                <a:gd name="T17" fmla="*/ 0 h 580"/>
                <a:gd name="T18" fmla="*/ 176 w 492"/>
                <a:gd name="T19" fmla="*/ 18 h 580"/>
                <a:gd name="T20" fmla="*/ 123 w 492"/>
                <a:gd name="T21" fmla="*/ 18 h 580"/>
                <a:gd name="T22" fmla="*/ 105 w 492"/>
                <a:gd name="T23" fmla="*/ 18 h 580"/>
                <a:gd name="T24" fmla="*/ 35 w 492"/>
                <a:gd name="T25" fmla="*/ 123 h 580"/>
                <a:gd name="T26" fmla="*/ 0 w 492"/>
                <a:gd name="T27" fmla="*/ 141 h 580"/>
                <a:gd name="T28" fmla="*/ 88 w 492"/>
                <a:gd name="T29" fmla="*/ 211 h 580"/>
                <a:gd name="T30" fmla="*/ 105 w 492"/>
                <a:gd name="T31" fmla="*/ 229 h 580"/>
                <a:gd name="T32" fmla="*/ 141 w 492"/>
                <a:gd name="T33" fmla="*/ 264 h 580"/>
                <a:gd name="T34" fmla="*/ 158 w 492"/>
                <a:gd name="T35" fmla="*/ 317 h 580"/>
                <a:gd name="T36" fmla="*/ 141 w 492"/>
                <a:gd name="T37" fmla="*/ 369 h 580"/>
                <a:gd name="T38" fmla="*/ 141 w 492"/>
                <a:gd name="T39" fmla="*/ 404 h 580"/>
                <a:gd name="T40" fmla="*/ 193 w 492"/>
                <a:gd name="T41" fmla="*/ 457 h 580"/>
                <a:gd name="T42" fmla="*/ 211 w 492"/>
                <a:gd name="T43" fmla="*/ 510 h 580"/>
                <a:gd name="T44" fmla="*/ 176 w 492"/>
                <a:gd name="T45" fmla="*/ 545 h 580"/>
                <a:gd name="T46" fmla="*/ 176 w 492"/>
                <a:gd name="T47" fmla="*/ 563 h 580"/>
                <a:gd name="T48" fmla="*/ 193 w 492"/>
                <a:gd name="T49" fmla="*/ 580 h 580"/>
                <a:gd name="T50" fmla="*/ 228 w 492"/>
                <a:gd name="T51" fmla="*/ 545 h 580"/>
                <a:gd name="T52" fmla="*/ 281 w 492"/>
                <a:gd name="T53" fmla="*/ 545 h 580"/>
                <a:gd name="T54" fmla="*/ 351 w 492"/>
                <a:gd name="T55" fmla="*/ 527 h 580"/>
                <a:gd name="T56" fmla="*/ 404 w 492"/>
                <a:gd name="T57" fmla="*/ 545 h 580"/>
                <a:gd name="T58" fmla="*/ 439 w 492"/>
                <a:gd name="T59" fmla="*/ 545 h 580"/>
                <a:gd name="T60" fmla="*/ 474 w 492"/>
                <a:gd name="T61" fmla="*/ 492 h 580"/>
                <a:gd name="T62" fmla="*/ 492 w 492"/>
                <a:gd name="T63" fmla="*/ 457 h 580"/>
                <a:gd name="T64" fmla="*/ 439 w 492"/>
                <a:gd name="T65" fmla="*/ 369 h 580"/>
                <a:gd name="T66" fmla="*/ 404 w 492"/>
                <a:gd name="T67" fmla="*/ 282 h 580"/>
                <a:gd name="T68" fmla="*/ 404 w 492"/>
                <a:gd name="T69" fmla="*/ 246 h 580"/>
                <a:gd name="T70" fmla="*/ 474 w 492"/>
                <a:gd name="T71" fmla="*/ 159 h 580"/>
                <a:gd name="T72" fmla="*/ 474 w 492"/>
                <a:gd name="T73" fmla="*/ 141 h 58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92"/>
                <a:gd name="T112" fmla="*/ 0 h 580"/>
                <a:gd name="T113" fmla="*/ 492 w 492"/>
                <a:gd name="T114" fmla="*/ 580 h 58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92" h="580">
                  <a:moveTo>
                    <a:pt x="474" y="141"/>
                  </a:moveTo>
                  <a:lnTo>
                    <a:pt x="474" y="141"/>
                  </a:lnTo>
                  <a:lnTo>
                    <a:pt x="457" y="106"/>
                  </a:lnTo>
                  <a:lnTo>
                    <a:pt x="439" y="88"/>
                  </a:lnTo>
                  <a:lnTo>
                    <a:pt x="404" y="71"/>
                  </a:lnTo>
                  <a:lnTo>
                    <a:pt x="369" y="88"/>
                  </a:lnTo>
                  <a:lnTo>
                    <a:pt x="351" y="106"/>
                  </a:lnTo>
                  <a:lnTo>
                    <a:pt x="334" y="88"/>
                  </a:lnTo>
                  <a:lnTo>
                    <a:pt x="316" y="71"/>
                  </a:lnTo>
                  <a:lnTo>
                    <a:pt x="281" y="53"/>
                  </a:lnTo>
                  <a:lnTo>
                    <a:pt x="246" y="53"/>
                  </a:lnTo>
                  <a:lnTo>
                    <a:pt x="228" y="36"/>
                  </a:lnTo>
                  <a:lnTo>
                    <a:pt x="211" y="0"/>
                  </a:lnTo>
                  <a:lnTo>
                    <a:pt x="193" y="0"/>
                  </a:lnTo>
                  <a:lnTo>
                    <a:pt x="176" y="18"/>
                  </a:lnTo>
                  <a:lnTo>
                    <a:pt x="123" y="18"/>
                  </a:lnTo>
                  <a:lnTo>
                    <a:pt x="105" y="18"/>
                  </a:lnTo>
                  <a:lnTo>
                    <a:pt x="53" y="88"/>
                  </a:lnTo>
                  <a:lnTo>
                    <a:pt x="35" y="123"/>
                  </a:lnTo>
                  <a:lnTo>
                    <a:pt x="0" y="141"/>
                  </a:lnTo>
                  <a:lnTo>
                    <a:pt x="53" y="176"/>
                  </a:lnTo>
                  <a:lnTo>
                    <a:pt x="88" y="211"/>
                  </a:lnTo>
                  <a:lnTo>
                    <a:pt x="105" y="229"/>
                  </a:lnTo>
                  <a:lnTo>
                    <a:pt x="123" y="246"/>
                  </a:lnTo>
                  <a:lnTo>
                    <a:pt x="141" y="264"/>
                  </a:lnTo>
                  <a:lnTo>
                    <a:pt x="158" y="317"/>
                  </a:lnTo>
                  <a:lnTo>
                    <a:pt x="141" y="334"/>
                  </a:lnTo>
                  <a:lnTo>
                    <a:pt x="141" y="369"/>
                  </a:lnTo>
                  <a:lnTo>
                    <a:pt x="141" y="404"/>
                  </a:lnTo>
                  <a:lnTo>
                    <a:pt x="176" y="440"/>
                  </a:lnTo>
                  <a:lnTo>
                    <a:pt x="193" y="457"/>
                  </a:lnTo>
                  <a:lnTo>
                    <a:pt x="211" y="510"/>
                  </a:lnTo>
                  <a:lnTo>
                    <a:pt x="193" y="527"/>
                  </a:lnTo>
                  <a:lnTo>
                    <a:pt x="176" y="545"/>
                  </a:lnTo>
                  <a:lnTo>
                    <a:pt x="176" y="563"/>
                  </a:lnTo>
                  <a:lnTo>
                    <a:pt x="193" y="580"/>
                  </a:lnTo>
                  <a:lnTo>
                    <a:pt x="211" y="563"/>
                  </a:lnTo>
                  <a:lnTo>
                    <a:pt x="228" y="545"/>
                  </a:lnTo>
                  <a:lnTo>
                    <a:pt x="281" y="545"/>
                  </a:lnTo>
                  <a:lnTo>
                    <a:pt x="351" y="527"/>
                  </a:lnTo>
                  <a:lnTo>
                    <a:pt x="404" y="545"/>
                  </a:lnTo>
                  <a:lnTo>
                    <a:pt x="439" y="545"/>
                  </a:lnTo>
                  <a:lnTo>
                    <a:pt x="474" y="527"/>
                  </a:lnTo>
                  <a:lnTo>
                    <a:pt x="474" y="492"/>
                  </a:lnTo>
                  <a:lnTo>
                    <a:pt x="492" y="457"/>
                  </a:lnTo>
                  <a:lnTo>
                    <a:pt x="474" y="422"/>
                  </a:lnTo>
                  <a:lnTo>
                    <a:pt x="439" y="369"/>
                  </a:lnTo>
                  <a:lnTo>
                    <a:pt x="422" y="334"/>
                  </a:lnTo>
                  <a:lnTo>
                    <a:pt x="404" y="282"/>
                  </a:lnTo>
                  <a:lnTo>
                    <a:pt x="404" y="246"/>
                  </a:lnTo>
                  <a:lnTo>
                    <a:pt x="439" y="211"/>
                  </a:lnTo>
                  <a:lnTo>
                    <a:pt x="474" y="159"/>
                  </a:lnTo>
                  <a:lnTo>
                    <a:pt x="474" y="141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33"/>
            <p:cNvSpPr>
              <a:spLocks/>
            </p:cNvSpPr>
            <p:nvPr/>
          </p:nvSpPr>
          <p:spPr bwMode="auto">
            <a:xfrm>
              <a:off x="1988239" y="3956702"/>
              <a:ext cx="287349" cy="191589"/>
            </a:xfrm>
            <a:custGeom>
              <a:avLst/>
              <a:gdLst>
                <a:gd name="T0" fmla="*/ 474 w 474"/>
                <a:gd name="T1" fmla="*/ 264 h 316"/>
                <a:gd name="T2" fmla="*/ 457 w 474"/>
                <a:gd name="T3" fmla="*/ 246 h 316"/>
                <a:gd name="T4" fmla="*/ 404 w 474"/>
                <a:gd name="T5" fmla="*/ 246 h 316"/>
                <a:gd name="T6" fmla="*/ 386 w 474"/>
                <a:gd name="T7" fmla="*/ 299 h 316"/>
                <a:gd name="T8" fmla="*/ 334 w 474"/>
                <a:gd name="T9" fmla="*/ 316 h 316"/>
                <a:gd name="T10" fmla="*/ 298 w 474"/>
                <a:gd name="T11" fmla="*/ 281 h 316"/>
                <a:gd name="T12" fmla="*/ 263 w 474"/>
                <a:gd name="T13" fmla="*/ 299 h 316"/>
                <a:gd name="T14" fmla="*/ 228 w 474"/>
                <a:gd name="T15" fmla="*/ 316 h 316"/>
                <a:gd name="T16" fmla="*/ 211 w 474"/>
                <a:gd name="T17" fmla="*/ 299 h 316"/>
                <a:gd name="T18" fmla="*/ 175 w 474"/>
                <a:gd name="T19" fmla="*/ 299 h 316"/>
                <a:gd name="T20" fmla="*/ 140 w 474"/>
                <a:gd name="T21" fmla="*/ 246 h 316"/>
                <a:gd name="T22" fmla="*/ 105 w 474"/>
                <a:gd name="T23" fmla="*/ 211 h 316"/>
                <a:gd name="T24" fmla="*/ 88 w 474"/>
                <a:gd name="T25" fmla="*/ 176 h 316"/>
                <a:gd name="T26" fmla="*/ 70 w 474"/>
                <a:gd name="T27" fmla="*/ 158 h 316"/>
                <a:gd name="T28" fmla="*/ 35 w 474"/>
                <a:gd name="T29" fmla="*/ 141 h 316"/>
                <a:gd name="T30" fmla="*/ 0 w 474"/>
                <a:gd name="T31" fmla="*/ 123 h 316"/>
                <a:gd name="T32" fmla="*/ 17 w 474"/>
                <a:gd name="T33" fmla="*/ 88 h 316"/>
                <a:gd name="T34" fmla="*/ 17 w 474"/>
                <a:gd name="T35" fmla="*/ 71 h 316"/>
                <a:gd name="T36" fmla="*/ 0 w 474"/>
                <a:gd name="T37" fmla="*/ 18 h 316"/>
                <a:gd name="T38" fmla="*/ 17 w 474"/>
                <a:gd name="T39" fmla="*/ 18 h 316"/>
                <a:gd name="T40" fmla="*/ 35 w 474"/>
                <a:gd name="T41" fmla="*/ 0 h 316"/>
                <a:gd name="T42" fmla="*/ 158 w 474"/>
                <a:gd name="T43" fmla="*/ 18 h 316"/>
                <a:gd name="T44" fmla="*/ 193 w 474"/>
                <a:gd name="T45" fmla="*/ 53 h 316"/>
                <a:gd name="T46" fmla="*/ 246 w 474"/>
                <a:gd name="T47" fmla="*/ 71 h 316"/>
                <a:gd name="T48" fmla="*/ 298 w 474"/>
                <a:gd name="T49" fmla="*/ 35 h 316"/>
                <a:gd name="T50" fmla="*/ 334 w 474"/>
                <a:gd name="T51" fmla="*/ 88 h 316"/>
                <a:gd name="T52" fmla="*/ 369 w 474"/>
                <a:gd name="T53" fmla="*/ 123 h 316"/>
                <a:gd name="T54" fmla="*/ 404 w 474"/>
                <a:gd name="T55" fmla="*/ 158 h 316"/>
                <a:gd name="T56" fmla="*/ 369 w 474"/>
                <a:gd name="T57" fmla="*/ 158 h 316"/>
                <a:gd name="T58" fmla="*/ 369 w 474"/>
                <a:gd name="T59" fmla="*/ 176 h 316"/>
                <a:gd name="T60" fmla="*/ 369 w 474"/>
                <a:gd name="T61" fmla="*/ 176 h 316"/>
                <a:gd name="T62" fmla="*/ 439 w 474"/>
                <a:gd name="T63" fmla="*/ 211 h 316"/>
                <a:gd name="T64" fmla="*/ 474 w 474"/>
                <a:gd name="T65" fmla="*/ 246 h 316"/>
                <a:gd name="T66" fmla="*/ 474 w 474"/>
                <a:gd name="T67" fmla="*/ 264 h 31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74"/>
                <a:gd name="T103" fmla="*/ 0 h 316"/>
                <a:gd name="T104" fmla="*/ 474 w 474"/>
                <a:gd name="T105" fmla="*/ 316 h 31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74" h="316">
                  <a:moveTo>
                    <a:pt x="474" y="264"/>
                  </a:moveTo>
                  <a:lnTo>
                    <a:pt x="474" y="264"/>
                  </a:lnTo>
                  <a:lnTo>
                    <a:pt x="457" y="246"/>
                  </a:lnTo>
                  <a:lnTo>
                    <a:pt x="404" y="246"/>
                  </a:lnTo>
                  <a:lnTo>
                    <a:pt x="386" y="299"/>
                  </a:lnTo>
                  <a:lnTo>
                    <a:pt x="334" y="316"/>
                  </a:lnTo>
                  <a:lnTo>
                    <a:pt x="316" y="299"/>
                  </a:lnTo>
                  <a:lnTo>
                    <a:pt x="298" y="281"/>
                  </a:lnTo>
                  <a:lnTo>
                    <a:pt x="263" y="299"/>
                  </a:lnTo>
                  <a:lnTo>
                    <a:pt x="246" y="316"/>
                  </a:lnTo>
                  <a:lnTo>
                    <a:pt x="228" y="316"/>
                  </a:lnTo>
                  <a:lnTo>
                    <a:pt x="211" y="299"/>
                  </a:lnTo>
                  <a:lnTo>
                    <a:pt x="175" y="299"/>
                  </a:lnTo>
                  <a:lnTo>
                    <a:pt x="158" y="264"/>
                  </a:lnTo>
                  <a:lnTo>
                    <a:pt x="140" y="246"/>
                  </a:lnTo>
                  <a:lnTo>
                    <a:pt x="123" y="229"/>
                  </a:lnTo>
                  <a:lnTo>
                    <a:pt x="105" y="211"/>
                  </a:lnTo>
                  <a:lnTo>
                    <a:pt x="88" y="176"/>
                  </a:lnTo>
                  <a:lnTo>
                    <a:pt x="88" y="158"/>
                  </a:lnTo>
                  <a:lnTo>
                    <a:pt x="70" y="158"/>
                  </a:lnTo>
                  <a:lnTo>
                    <a:pt x="35" y="141"/>
                  </a:lnTo>
                  <a:lnTo>
                    <a:pt x="17" y="141"/>
                  </a:lnTo>
                  <a:lnTo>
                    <a:pt x="0" y="123"/>
                  </a:lnTo>
                  <a:lnTo>
                    <a:pt x="17" y="88"/>
                  </a:lnTo>
                  <a:lnTo>
                    <a:pt x="17" y="71"/>
                  </a:lnTo>
                  <a:lnTo>
                    <a:pt x="17" y="53"/>
                  </a:lnTo>
                  <a:lnTo>
                    <a:pt x="0" y="18"/>
                  </a:lnTo>
                  <a:lnTo>
                    <a:pt x="17" y="18"/>
                  </a:lnTo>
                  <a:lnTo>
                    <a:pt x="35" y="0"/>
                  </a:lnTo>
                  <a:lnTo>
                    <a:pt x="158" y="18"/>
                  </a:lnTo>
                  <a:lnTo>
                    <a:pt x="158" y="35"/>
                  </a:lnTo>
                  <a:lnTo>
                    <a:pt x="193" y="53"/>
                  </a:lnTo>
                  <a:lnTo>
                    <a:pt x="246" y="71"/>
                  </a:lnTo>
                  <a:lnTo>
                    <a:pt x="281" y="53"/>
                  </a:lnTo>
                  <a:lnTo>
                    <a:pt x="298" y="35"/>
                  </a:lnTo>
                  <a:lnTo>
                    <a:pt x="334" y="88"/>
                  </a:lnTo>
                  <a:lnTo>
                    <a:pt x="369" y="123"/>
                  </a:lnTo>
                  <a:lnTo>
                    <a:pt x="404" y="158"/>
                  </a:lnTo>
                  <a:lnTo>
                    <a:pt x="386" y="158"/>
                  </a:lnTo>
                  <a:lnTo>
                    <a:pt x="369" y="158"/>
                  </a:lnTo>
                  <a:lnTo>
                    <a:pt x="369" y="176"/>
                  </a:lnTo>
                  <a:lnTo>
                    <a:pt x="404" y="193"/>
                  </a:lnTo>
                  <a:lnTo>
                    <a:pt x="439" y="211"/>
                  </a:lnTo>
                  <a:lnTo>
                    <a:pt x="457" y="211"/>
                  </a:lnTo>
                  <a:lnTo>
                    <a:pt x="474" y="246"/>
                  </a:lnTo>
                  <a:lnTo>
                    <a:pt x="474" y="264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34"/>
            <p:cNvSpPr>
              <a:spLocks/>
            </p:cNvSpPr>
            <p:nvPr/>
          </p:nvSpPr>
          <p:spPr bwMode="auto">
            <a:xfrm>
              <a:off x="1732414" y="4574515"/>
              <a:ext cx="554086" cy="522019"/>
            </a:xfrm>
            <a:custGeom>
              <a:avLst/>
              <a:gdLst>
                <a:gd name="T0" fmla="*/ 580 w 914"/>
                <a:gd name="T1" fmla="*/ 246 h 861"/>
                <a:gd name="T2" fmla="*/ 668 w 914"/>
                <a:gd name="T3" fmla="*/ 299 h 861"/>
                <a:gd name="T4" fmla="*/ 791 w 914"/>
                <a:gd name="T5" fmla="*/ 334 h 861"/>
                <a:gd name="T6" fmla="*/ 791 w 914"/>
                <a:gd name="T7" fmla="*/ 299 h 861"/>
                <a:gd name="T8" fmla="*/ 791 w 914"/>
                <a:gd name="T9" fmla="*/ 299 h 861"/>
                <a:gd name="T10" fmla="*/ 791 w 914"/>
                <a:gd name="T11" fmla="*/ 299 h 861"/>
                <a:gd name="T12" fmla="*/ 791 w 914"/>
                <a:gd name="T13" fmla="*/ 334 h 861"/>
                <a:gd name="T14" fmla="*/ 756 w 914"/>
                <a:gd name="T15" fmla="*/ 351 h 861"/>
                <a:gd name="T16" fmla="*/ 756 w 914"/>
                <a:gd name="T17" fmla="*/ 369 h 861"/>
                <a:gd name="T18" fmla="*/ 791 w 914"/>
                <a:gd name="T19" fmla="*/ 422 h 861"/>
                <a:gd name="T20" fmla="*/ 826 w 914"/>
                <a:gd name="T21" fmla="*/ 474 h 861"/>
                <a:gd name="T22" fmla="*/ 896 w 914"/>
                <a:gd name="T23" fmla="*/ 632 h 861"/>
                <a:gd name="T24" fmla="*/ 914 w 914"/>
                <a:gd name="T25" fmla="*/ 667 h 861"/>
                <a:gd name="T26" fmla="*/ 896 w 914"/>
                <a:gd name="T27" fmla="*/ 703 h 861"/>
                <a:gd name="T28" fmla="*/ 861 w 914"/>
                <a:gd name="T29" fmla="*/ 703 h 861"/>
                <a:gd name="T30" fmla="*/ 808 w 914"/>
                <a:gd name="T31" fmla="*/ 720 h 861"/>
                <a:gd name="T32" fmla="*/ 738 w 914"/>
                <a:gd name="T33" fmla="*/ 738 h 861"/>
                <a:gd name="T34" fmla="*/ 685 w 914"/>
                <a:gd name="T35" fmla="*/ 720 h 861"/>
                <a:gd name="T36" fmla="*/ 597 w 914"/>
                <a:gd name="T37" fmla="*/ 738 h 861"/>
                <a:gd name="T38" fmla="*/ 562 w 914"/>
                <a:gd name="T39" fmla="*/ 738 h 861"/>
                <a:gd name="T40" fmla="*/ 527 w 914"/>
                <a:gd name="T41" fmla="*/ 790 h 861"/>
                <a:gd name="T42" fmla="*/ 492 w 914"/>
                <a:gd name="T43" fmla="*/ 843 h 861"/>
                <a:gd name="T44" fmla="*/ 457 w 914"/>
                <a:gd name="T45" fmla="*/ 861 h 861"/>
                <a:gd name="T46" fmla="*/ 404 w 914"/>
                <a:gd name="T47" fmla="*/ 843 h 861"/>
                <a:gd name="T48" fmla="*/ 404 w 914"/>
                <a:gd name="T49" fmla="*/ 703 h 861"/>
                <a:gd name="T50" fmla="*/ 387 w 914"/>
                <a:gd name="T51" fmla="*/ 685 h 861"/>
                <a:gd name="T52" fmla="*/ 334 w 914"/>
                <a:gd name="T53" fmla="*/ 580 h 861"/>
                <a:gd name="T54" fmla="*/ 299 w 914"/>
                <a:gd name="T55" fmla="*/ 580 h 861"/>
                <a:gd name="T56" fmla="*/ 281 w 914"/>
                <a:gd name="T57" fmla="*/ 562 h 861"/>
                <a:gd name="T58" fmla="*/ 264 w 914"/>
                <a:gd name="T59" fmla="*/ 509 h 861"/>
                <a:gd name="T60" fmla="*/ 264 w 914"/>
                <a:gd name="T61" fmla="*/ 492 h 861"/>
                <a:gd name="T62" fmla="*/ 229 w 914"/>
                <a:gd name="T63" fmla="*/ 492 h 861"/>
                <a:gd name="T64" fmla="*/ 193 w 914"/>
                <a:gd name="T65" fmla="*/ 474 h 861"/>
                <a:gd name="T66" fmla="*/ 193 w 914"/>
                <a:gd name="T67" fmla="*/ 439 h 861"/>
                <a:gd name="T68" fmla="*/ 229 w 914"/>
                <a:gd name="T69" fmla="*/ 422 h 861"/>
                <a:gd name="T70" fmla="*/ 229 w 914"/>
                <a:gd name="T71" fmla="*/ 404 h 861"/>
                <a:gd name="T72" fmla="*/ 176 w 914"/>
                <a:gd name="T73" fmla="*/ 316 h 861"/>
                <a:gd name="T74" fmla="*/ 106 w 914"/>
                <a:gd name="T75" fmla="*/ 263 h 861"/>
                <a:gd name="T76" fmla="*/ 88 w 914"/>
                <a:gd name="T77" fmla="*/ 246 h 861"/>
                <a:gd name="T78" fmla="*/ 18 w 914"/>
                <a:gd name="T79" fmla="*/ 228 h 861"/>
                <a:gd name="T80" fmla="*/ 0 w 914"/>
                <a:gd name="T81" fmla="*/ 193 h 861"/>
                <a:gd name="T82" fmla="*/ 18 w 914"/>
                <a:gd name="T83" fmla="*/ 123 h 861"/>
                <a:gd name="T84" fmla="*/ 18 w 914"/>
                <a:gd name="T85" fmla="*/ 70 h 861"/>
                <a:gd name="T86" fmla="*/ 123 w 914"/>
                <a:gd name="T87" fmla="*/ 18 h 861"/>
                <a:gd name="T88" fmla="*/ 176 w 914"/>
                <a:gd name="T89" fmla="*/ 0 h 861"/>
                <a:gd name="T90" fmla="*/ 193 w 914"/>
                <a:gd name="T91" fmla="*/ 0 h 861"/>
                <a:gd name="T92" fmla="*/ 264 w 914"/>
                <a:gd name="T93" fmla="*/ 70 h 861"/>
                <a:gd name="T94" fmla="*/ 281 w 914"/>
                <a:gd name="T95" fmla="*/ 88 h 861"/>
                <a:gd name="T96" fmla="*/ 351 w 914"/>
                <a:gd name="T97" fmla="*/ 105 h 861"/>
                <a:gd name="T98" fmla="*/ 369 w 914"/>
                <a:gd name="T99" fmla="*/ 140 h 861"/>
                <a:gd name="T100" fmla="*/ 404 w 914"/>
                <a:gd name="T101" fmla="*/ 176 h 861"/>
                <a:gd name="T102" fmla="*/ 545 w 914"/>
                <a:gd name="T103" fmla="*/ 211 h 861"/>
                <a:gd name="T104" fmla="*/ 580 w 914"/>
                <a:gd name="T105" fmla="*/ 246 h 861"/>
                <a:gd name="T106" fmla="*/ 580 w 914"/>
                <a:gd name="T107" fmla="*/ 246 h 86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14"/>
                <a:gd name="T163" fmla="*/ 0 h 861"/>
                <a:gd name="T164" fmla="*/ 914 w 914"/>
                <a:gd name="T165" fmla="*/ 861 h 86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14" h="861">
                  <a:moveTo>
                    <a:pt x="580" y="246"/>
                  </a:moveTo>
                  <a:lnTo>
                    <a:pt x="580" y="246"/>
                  </a:lnTo>
                  <a:lnTo>
                    <a:pt x="615" y="281"/>
                  </a:lnTo>
                  <a:lnTo>
                    <a:pt x="668" y="299"/>
                  </a:lnTo>
                  <a:lnTo>
                    <a:pt x="791" y="334"/>
                  </a:lnTo>
                  <a:lnTo>
                    <a:pt x="791" y="316"/>
                  </a:lnTo>
                  <a:lnTo>
                    <a:pt x="791" y="299"/>
                  </a:lnTo>
                  <a:lnTo>
                    <a:pt x="791" y="334"/>
                  </a:lnTo>
                  <a:lnTo>
                    <a:pt x="773" y="334"/>
                  </a:lnTo>
                  <a:lnTo>
                    <a:pt x="756" y="351"/>
                  </a:lnTo>
                  <a:lnTo>
                    <a:pt x="756" y="369"/>
                  </a:lnTo>
                  <a:lnTo>
                    <a:pt x="756" y="404"/>
                  </a:lnTo>
                  <a:lnTo>
                    <a:pt x="791" y="422"/>
                  </a:lnTo>
                  <a:lnTo>
                    <a:pt x="826" y="474"/>
                  </a:lnTo>
                  <a:lnTo>
                    <a:pt x="879" y="562"/>
                  </a:lnTo>
                  <a:lnTo>
                    <a:pt x="896" y="632"/>
                  </a:lnTo>
                  <a:lnTo>
                    <a:pt x="914" y="667"/>
                  </a:lnTo>
                  <a:lnTo>
                    <a:pt x="896" y="685"/>
                  </a:lnTo>
                  <a:lnTo>
                    <a:pt x="896" y="703"/>
                  </a:lnTo>
                  <a:lnTo>
                    <a:pt x="861" y="703"/>
                  </a:lnTo>
                  <a:lnTo>
                    <a:pt x="808" y="720"/>
                  </a:lnTo>
                  <a:lnTo>
                    <a:pt x="738" y="738"/>
                  </a:lnTo>
                  <a:lnTo>
                    <a:pt x="685" y="720"/>
                  </a:lnTo>
                  <a:lnTo>
                    <a:pt x="633" y="720"/>
                  </a:lnTo>
                  <a:lnTo>
                    <a:pt x="597" y="738"/>
                  </a:lnTo>
                  <a:lnTo>
                    <a:pt x="562" y="738"/>
                  </a:lnTo>
                  <a:lnTo>
                    <a:pt x="545" y="755"/>
                  </a:lnTo>
                  <a:lnTo>
                    <a:pt x="527" y="790"/>
                  </a:lnTo>
                  <a:lnTo>
                    <a:pt x="510" y="843"/>
                  </a:lnTo>
                  <a:lnTo>
                    <a:pt x="492" y="843"/>
                  </a:lnTo>
                  <a:lnTo>
                    <a:pt x="457" y="861"/>
                  </a:lnTo>
                  <a:lnTo>
                    <a:pt x="404" y="843"/>
                  </a:lnTo>
                  <a:lnTo>
                    <a:pt x="404" y="738"/>
                  </a:lnTo>
                  <a:lnTo>
                    <a:pt x="404" y="703"/>
                  </a:lnTo>
                  <a:lnTo>
                    <a:pt x="387" y="685"/>
                  </a:lnTo>
                  <a:lnTo>
                    <a:pt x="334" y="580"/>
                  </a:lnTo>
                  <a:lnTo>
                    <a:pt x="299" y="580"/>
                  </a:lnTo>
                  <a:lnTo>
                    <a:pt x="281" y="562"/>
                  </a:lnTo>
                  <a:lnTo>
                    <a:pt x="264" y="527"/>
                  </a:lnTo>
                  <a:lnTo>
                    <a:pt x="264" y="509"/>
                  </a:lnTo>
                  <a:lnTo>
                    <a:pt x="264" y="492"/>
                  </a:lnTo>
                  <a:lnTo>
                    <a:pt x="229" y="492"/>
                  </a:lnTo>
                  <a:lnTo>
                    <a:pt x="193" y="492"/>
                  </a:lnTo>
                  <a:lnTo>
                    <a:pt x="193" y="474"/>
                  </a:lnTo>
                  <a:lnTo>
                    <a:pt x="193" y="439"/>
                  </a:lnTo>
                  <a:lnTo>
                    <a:pt x="211" y="439"/>
                  </a:lnTo>
                  <a:lnTo>
                    <a:pt x="229" y="422"/>
                  </a:lnTo>
                  <a:lnTo>
                    <a:pt x="229" y="404"/>
                  </a:lnTo>
                  <a:lnTo>
                    <a:pt x="211" y="351"/>
                  </a:lnTo>
                  <a:lnTo>
                    <a:pt x="176" y="316"/>
                  </a:lnTo>
                  <a:lnTo>
                    <a:pt x="141" y="299"/>
                  </a:lnTo>
                  <a:lnTo>
                    <a:pt x="106" y="263"/>
                  </a:lnTo>
                  <a:lnTo>
                    <a:pt x="88" y="246"/>
                  </a:lnTo>
                  <a:lnTo>
                    <a:pt x="53" y="246"/>
                  </a:lnTo>
                  <a:lnTo>
                    <a:pt x="18" y="228"/>
                  </a:lnTo>
                  <a:lnTo>
                    <a:pt x="0" y="193"/>
                  </a:lnTo>
                  <a:lnTo>
                    <a:pt x="18" y="123"/>
                  </a:lnTo>
                  <a:lnTo>
                    <a:pt x="18" y="70"/>
                  </a:lnTo>
                  <a:lnTo>
                    <a:pt x="123" y="18"/>
                  </a:lnTo>
                  <a:lnTo>
                    <a:pt x="176" y="0"/>
                  </a:lnTo>
                  <a:lnTo>
                    <a:pt x="193" y="0"/>
                  </a:lnTo>
                  <a:lnTo>
                    <a:pt x="229" y="35"/>
                  </a:lnTo>
                  <a:lnTo>
                    <a:pt x="264" y="70"/>
                  </a:lnTo>
                  <a:lnTo>
                    <a:pt x="281" y="88"/>
                  </a:lnTo>
                  <a:lnTo>
                    <a:pt x="316" y="105"/>
                  </a:lnTo>
                  <a:lnTo>
                    <a:pt x="351" y="105"/>
                  </a:lnTo>
                  <a:lnTo>
                    <a:pt x="369" y="140"/>
                  </a:lnTo>
                  <a:lnTo>
                    <a:pt x="387" y="158"/>
                  </a:lnTo>
                  <a:lnTo>
                    <a:pt x="404" y="176"/>
                  </a:lnTo>
                  <a:lnTo>
                    <a:pt x="474" y="193"/>
                  </a:lnTo>
                  <a:lnTo>
                    <a:pt x="545" y="211"/>
                  </a:lnTo>
                  <a:lnTo>
                    <a:pt x="562" y="228"/>
                  </a:lnTo>
                  <a:lnTo>
                    <a:pt x="580" y="246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35"/>
            <p:cNvSpPr>
              <a:spLocks/>
            </p:cNvSpPr>
            <p:nvPr/>
          </p:nvSpPr>
          <p:spPr bwMode="auto">
            <a:xfrm>
              <a:off x="1839109" y="4404382"/>
              <a:ext cx="308566" cy="330430"/>
            </a:xfrm>
            <a:custGeom>
              <a:avLst/>
              <a:gdLst>
                <a:gd name="T0" fmla="*/ 404 w 509"/>
                <a:gd name="T1" fmla="*/ 545 h 545"/>
                <a:gd name="T2" fmla="*/ 457 w 509"/>
                <a:gd name="T3" fmla="*/ 492 h 545"/>
                <a:gd name="T4" fmla="*/ 509 w 509"/>
                <a:gd name="T5" fmla="*/ 439 h 545"/>
                <a:gd name="T6" fmla="*/ 492 w 509"/>
                <a:gd name="T7" fmla="*/ 404 h 545"/>
                <a:gd name="T8" fmla="*/ 474 w 509"/>
                <a:gd name="T9" fmla="*/ 387 h 545"/>
                <a:gd name="T10" fmla="*/ 509 w 509"/>
                <a:gd name="T11" fmla="*/ 317 h 545"/>
                <a:gd name="T12" fmla="*/ 492 w 509"/>
                <a:gd name="T13" fmla="*/ 281 h 545"/>
                <a:gd name="T14" fmla="*/ 474 w 509"/>
                <a:gd name="T15" fmla="*/ 246 h 545"/>
                <a:gd name="T16" fmla="*/ 474 w 509"/>
                <a:gd name="T17" fmla="*/ 229 h 545"/>
                <a:gd name="T18" fmla="*/ 439 w 509"/>
                <a:gd name="T19" fmla="*/ 211 h 545"/>
                <a:gd name="T20" fmla="*/ 386 w 509"/>
                <a:gd name="T21" fmla="*/ 176 h 545"/>
                <a:gd name="T22" fmla="*/ 369 w 509"/>
                <a:gd name="T23" fmla="*/ 158 h 545"/>
                <a:gd name="T24" fmla="*/ 316 w 509"/>
                <a:gd name="T25" fmla="*/ 194 h 545"/>
                <a:gd name="T26" fmla="*/ 298 w 509"/>
                <a:gd name="T27" fmla="*/ 194 h 545"/>
                <a:gd name="T28" fmla="*/ 281 w 509"/>
                <a:gd name="T29" fmla="*/ 123 h 545"/>
                <a:gd name="T30" fmla="*/ 246 w 509"/>
                <a:gd name="T31" fmla="*/ 53 h 545"/>
                <a:gd name="T32" fmla="*/ 228 w 509"/>
                <a:gd name="T33" fmla="*/ 53 h 545"/>
                <a:gd name="T34" fmla="*/ 175 w 509"/>
                <a:gd name="T35" fmla="*/ 71 h 545"/>
                <a:gd name="T36" fmla="*/ 105 w 509"/>
                <a:gd name="T37" fmla="*/ 0 h 545"/>
                <a:gd name="T38" fmla="*/ 70 w 509"/>
                <a:gd name="T39" fmla="*/ 18 h 545"/>
                <a:gd name="T40" fmla="*/ 70 w 509"/>
                <a:gd name="T41" fmla="*/ 53 h 545"/>
                <a:gd name="T42" fmla="*/ 70 w 509"/>
                <a:gd name="T43" fmla="*/ 211 h 545"/>
                <a:gd name="T44" fmla="*/ 35 w 509"/>
                <a:gd name="T45" fmla="*/ 264 h 545"/>
                <a:gd name="T46" fmla="*/ 0 w 509"/>
                <a:gd name="T47" fmla="*/ 299 h 545"/>
                <a:gd name="T48" fmla="*/ 0 w 509"/>
                <a:gd name="T49" fmla="*/ 299 h 545"/>
                <a:gd name="T50" fmla="*/ 17 w 509"/>
                <a:gd name="T51" fmla="*/ 299 h 545"/>
                <a:gd name="T52" fmla="*/ 88 w 509"/>
                <a:gd name="T53" fmla="*/ 369 h 545"/>
                <a:gd name="T54" fmla="*/ 105 w 509"/>
                <a:gd name="T55" fmla="*/ 387 h 545"/>
                <a:gd name="T56" fmla="*/ 175 w 509"/>
                <a:gd name="T57" fmla="*/ 404 h 545"/>
                <a:gd name="T58" fmla="*/ 193 w 509"/>
                <a:gd name="T59" fmla="*/ 439 h 545"/>
                <a:gd name="T60" fmla="*/ 228 w 509"/>
                <a:gd name="T61" fmla="*/ 475 h 545"/>
                <a:gd name="T62" fmla="*/ 369 w 509"/>
                <a:gd name="T63" fmla="*/ 510 h 545"/>
                <a:gd name="T64" fmla="*/ 404 w 509"/>
                <a:gd name="T65" fmla="*/ 545 h 545"/>
                <a:gd name="T66" fmla="*/ 404 w 509"/>
                <a:gd name="T67" fmla="*/ 545 h 54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09"/>
                <a:gd name="T103" fmla="*/ 0 h 545"/>
                <a:gd name="T104" fmla="*/ 509 w 509"/>
                <a:gd name="T105" fmla="*/ 545 h 54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09" h="545">
                  <a:moveTo>
                    <a:pt x="404" y="545"/>
                  </a:moveTo>
                  <a:lnTo>
                    <a:pt x="404" y="545"/>
                  </a:lnTo>
                  <a:lnTo>
                    <a:pt x="421" y="527"/>
                  </a:lnTo>
                  <a:lnTo>
                    <a:pt x="457" y="492"/>
                  </a:lnTo>
                  <a:lnTo>
                    <a:pt x="492" y="475"/>
                  </a:lnTo>
                  <a:lnTo>
                    <a:pt x="509" y="439"/>
                  </a:lnTo>
                  <a:lnTo>
                    <a:pt x="492" y="404"/>
                  </a:lnTo>
                  <a:lnTo>
                    <a:pt x="474" y="387"/>
                  </a:lnTo>
                  <a:lnTo>
                    <a:pt x="492" y="352"/>
                  </a:lnTo>
                  <a:lnTo>
                    <a:pt x="509" y="317"/>
                  </a:lnTo>
                  <a:lnTo>
                    <a:pt x="492" y="281"/>
                  </a:lnTo>
                  <a:lnTo>
                    <a:pt x="474" y="246"/>
                  </a:lnTo>
                  <a:lnTo>
                    <a:pt x="474" y="229"/>
                  </a:lnTo>
                  <a:lnTo>
                    <a:pt x="439" y="211"/>
                  </a:lnTo>
                  <a:lnTo>
                    <a:pt x="421" y="194"/>
                  </a:lnTo>
                  <a:lnTo>
                    <a:pt x="386" y="176"/>
                  </a:lnTo>
                  <a:lnTo>
                    <a:pt x="369" y="158"/>
                  </a:lnTo>
                  <a:lnTo>
                    <a:pt x="334" y="176"/>
                  </a:lnTo>
                  <a:lnTo>
                    <a:pt x="316" y="194"/>
                  </a:lnTo>
                  <a:lnTo>
                    <a:pt x="298" y="194"/>
                  </a:lnTo>
                  <a:lnTo>
                    <a:pt x="281" y="176"/>
                  </a:lnTo>
                  <a:lnTo>
                    <a:pt x="281" y="123"/>
                  </a:lnTo>
                  <a:lnTo>
                    <a:pt x="263" y="71"/>
                  </a:lnTo>
                  <a:lnTo>
                    <a:pt x="246" y="53"/>
                  </a:lnTo>
                  <a:lnTo>
                    <a:pt x="228" y="53"/>
                  </a:lnTo>
                  <a:lnTo>
                    <a:pt x="175" y="71"/>
                  </a:lnTo>
                  <a:lnTo>
                    <a:pt x="140" y="36"/>
                  </a:lnTo>
                  <a:lnTo>
                    <a:pt x="105" y="0"/>
                  </a:lnTo>
                  <a:lnTo>
                    <a:pt x="70" y="18"/>
                  </a:lnTo>
                  <a:lnTo>
                    <a:pt x="70" y="53"/>
                  </a:lnTo>
                  <a:lnTo>
                    <a:pt x="70" y="211"/>
                  </a:lnTo>
                  <a:lnTo>
                    <a:pt x="53" y="246"/>
                  </a:lnTo>
                  <a:lnTo>
                    <a:pt x="35" y="264"/>
                  </a:lnTo>
                  <a:lnTo>
                    <a:pt x="0" y="299"/>
                  </a:lnTo>
                  <a:lnTo>
                    <a:pt x="17" y="299"/>
                  </a:lnTo>
                  <a:lnTo>
                    <a:pt x="53" y="334"/>
                  </a:lnTo>
                  <a:lnTo>
                    <a:pt x="88" y="369"/>
                  </a:lnTo>
                  <a:lnTo>
                    <a:pt x="105" y="387"/>
                  </a:lnTo>
                  <a:lnTo>
                    <a:pt x="140" y="404"/>
                  </a:lnTo>
                  <a:lnTo>
                    <a:pt x="175" y="404"/>
                  </a:lnTo>
                  <a:lnTo>
                    <a:pt x="193" y="439"/>
                  </a:lnTo>
                  <a:lnTo>
                    <a:pt x="211" y="457"/>
                  </a:lnTo>
                  <a:lnTo>
                    <a:pt x="228" y="475"/>
                  </a:lnTo>
                  <a:lnTo>
                    <a:pt x="298" y="492"/>
                  </a:lnTo>
                  <a:lnTo>
                    <a:pt x="369" y="510"/>
                  </a:lnTo>
                  <a:lnTo>
                    <a:pt x="386" y="527"/>
                  </a:lnTo>
                  <a:lnTo>
                    <a:pt x="404" y="545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36"/>
            <p:cNvSpPr>
              <a:spLocks/>
            </p:cNvSpPr>
            <p:nvPr/>
          </p:nvSpPr>
          <p:spPr bwMode="auto">
            <a:xfrm>
              <a:off x="1445065" y="4638176"/>
              <a:ext cx="532262" cy="479579"/>
            </a:xfrm>
            <a:custGeom>
              <a:avLst/>
              <a:gdLst>
                <a:gd name="T0" fmla="*/ 861 w 878"/>
                <a:gd name="T1" fmla="*/ 598 h 791"/>
                <a:gd name="T2" fmla="*/ 808 w 878"/>
                <a:gd name="T3" fmla="*/ 615 h 791"/>
                <a:gd name="T4" fmla="*/ 720 w 878"/>
                <a:gd name="T5" fmla="*/ 650 h 791"/>
                <a:gd name="T6" fmla="*/ 667 w 878"/>
                <a:gd name="T7" fmla="*/ 703 h 791"/>
                <a:gd name="T8" fmla="*/ 650 w 878"/>
                <a:gd name="T9" fmla="*/ 738 h 791"/>
                <a:gd name="T10" fmla="*/ 562 w 878"/>
                <a:gd name="T11" fmla="*/ 791 h 791"/>
                <a:gd name="T12" fmla="*/ 544 w 878"/>
                <a:gd name="T13" fmla="*/ 756 h 791"/>
                <a:gd name="T14" fmla="*/ 509 w 878"/>
                <a:gd name="T15" fmla="*/ 720 h 791"/>
                <a:gd name="T16" fmla="*/ 457 w 878"/>
                <a:gd name="T17" fmla="*/ 738 h 791"/>
                <a:gd name="T18" fmla="*/ 369 w 878"/>
                <a:gd name="T19" fmla="*/ 720 h 791"/>
                <a:gd name="T20" fmla="*/ 334 w 878"/>
                <a:gd name="T21" fmla="*/ 738 h 791"/>
                <a:gd name="T22" fmla="*/ 298 w 878"/>
                <a:gd name="T23" fmla="*/ 756 h 791"/>
                <a:gd name="T24" fmla="*/ 281 w 878"/>
                <a:gd name="T25" fmla="*/ 720 h 791"/>
                <a:gd name="T26" fmla="*/ 263 w 878"/>
                <a:gd name="T27" fmla="*/ 685 h 791"/>
                <a:gd name="T28" fmla="*/ 246 w 878"/>
                <a:gd name="T29" fmla="*/ 738 h 791"/>
                <a:gd name="T30" fmla="*/ 228 w 878"/>
                <a:gd name="T31" fmla="*/ 738 h 791"/>
                <a:gd name="T32" fmla="*/ 158 w 878"/>
                <a:gd name="T33" fmla="*/ 720 h 791"/>
                <a:gd name="T34" fmla="*/ 105 w 878"/>
                <a:gd name="T35" fmla="*/ 738 h 791"/>
                <a:gd name="T36" fmla="*/ 53 w 878"/>
                <a:gd name="T37" fmla="*/ 720 h 791"/>
                <a:gd name="T38" fmla="*/ 35 w 878"/>
                <a:gd name="T39" fmla="*/ 668 h 791"/>
                <a:gd name="T40" fmla="*/ 35 w 878"/>
                <a:gd name="T41" fmla="*/ 580 h 791"/>
                <a:gd name="T42" fmla="*/ 17 w 878"/>
                <a:gd name="T43" fmla="*/ 545 h 791"/>
                <a:gd name="T44" fmla="*/ 0 w 878"/>
                <a:gd name="T45" fmla="*/ 510 h 791"/>
                <a:gd name="T46" fmla="*/ 17 w 878"/>
                <a:gd name="T47" fmla="*/ 492 h 791"/>
                <a:gd name="T48" fmla="*/ 70 w 878"/>
                <a:gd name="T49" fmla="*/ 457 h 791"/>
                <a:gd name="T50" fmla="*/ 140 w 878"/>
                <a:gd name="T51" fmla="*/ 475 h 791"/>
                <a:gd name="T52" fmla="*/ 158 w 878"/>
                <a:gd name="T53" fmla="*/ 475 h 791"/>
                <a:gd name="T54" fmla="*/ 175 w 878"/>
                <a:gd name="T55" fmla="*/ 404 h 791"/>
                <a:gd name="T56" fmla="*/ 175 w 878"/>
                <a:gd name="T57" fmla="*/ 352 h 791"/>
                <a:gd name="T58" fmla="*/ 175 w 878"/>
                <a:gd name="T59" fmla="*/ 317 h 791"/>
                <a:gd name="T60" fmla="*/ 228 w 878"/>
                <a:gd name="T61" fmla="*/ 264 h 791"/>
                <a:gd name="T62" fmla="*/ 228 w 878"/>
                <a:gd name="T63" fmla="*/ 229 h 791"/>
                <a:gd name="T64" fmla="*/ 193 w 878"/>
                <a:gd name="T65" fmla="*/ 141 h 791"/>
                <a:gd name="T66" fmla="*/ 211 w 878"/>
                <a:gd name="T67" fmla="*/ 106 h 791"/>
                <a:gd name="T68" fmla="*/ 263 w 878"/>
                <a:gd name="T69" fmla="*/ 35 h 791"/>
                <a:gd name="T70" fmla="*/ 281 w 878"/>
                <a:gd name="T71" fmla="*/ 0 h 791"/>
                <a:gd name="T72" fmla="*/ 386 w 878"/>
                <a:gd name="T73" fmla="*/ 0 h 791"/>
                <a:gd name="T74" fmla="*/ 421 w 878"/>
                <a:gd name="T75" fmla="*/ 18 h 791"/>
                <a:gd name="T76" fmla="*/ 474 w 878"/>
                <a:gd name="T77" fmla="*/ 53 h 791"/>
                <a:gd name="T78" fmla="*/ 474 w 878"/>
                <a:gd name="T79" fmla="*/ 88 h 791"/>
                <a:gd name="T80" fmla="*/ 492 w 878"/>
                <a:gd name="T81" fmla="*/ 123 h 791"/>
                <a:gd name="T82" fmla="*/ 562 w 878"/>
                <a:gd name="T83" fmla="*/ 141 h 791"/>
                <a:gd name="T84" fmla="*/ 580 w 878"/>
                <a:gd name="T85" fmla="*/ 158 h 791"/>
                <a:gd name="T86" fmla="*/ 650 w 878"/>
                <a:gd name="T87" fmla="*/ 211 h 791"/>
                <a:gd name="T88" fmla="*/ 703 w 878"/>
                <a:gd name="T89" fmla="*/ 299 h 791"/>
                <a:gd name="T90" fmla="*/ 703 w 878"/>
                <a:gd name="T91" fmla="*/ 317 h 791"/>
                <a:gd name="T92" fmla="*/ 667 w 878"/>
                <a:gd name="T93" fmla="*/ 334 h 791"/>
                <a:gd name="T94" fmla="*/ 667 w 878"/>
                <a:gd name="T95" fmla="*/ 369 h 791"/>
                <a:gd name="T96" fmla="*/ 703 w 878"/>
                <a:gd name="T97" fmla="*/ 387 h 791"/>
                <a:gd name="T98" fmla="*/ 738 w 878"/>
                <a:gd name="T99" fmla="*/ 387 h 791"/>
                <a:gd name="T100" fmla="*/ 738 w 878"/>
                <a:gd name="T101" fmla="*/ 404 h 791"/>
                <a:gd name="T102" fmla="*/ 755 w 878"/>
                <a:gd name="T103" fmla="*/ 457 h 791"/>
                <a:gd name="T104" fmla="*/ 773 w 878"/>
                <a:gd name="T105" fmla="*/ 475 h 791"/>
                <a:gd name="T106" fmla="*/ 808 w 878"/>
                <a:gd name="T107" fmla="*/ 475 h 791"/>
                <a:gd name="T108" fmla="*/ 861 w 878"/>
                <a:gd name="T109" fmla="*/ 580 h 791"/>
                <a:gd name="T110" fmla="*/ 878 w 878"/>
                <a:gd name="T111" fmla="*/ 598 h 791"/>
                <a:gd name="T112" fmla="*/ 861 w 878"/>
                <a:gd name="T113" fmla="*/ 598 h 79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878"/>
                <a:gd name="T172" fmla="*/ 0 h 791"/>
                <a:gd name="T173" fmla="*/ 878 w 878"/>
                <a:gd name="T174" fmla="*/ 791 h 79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878" h="791">
                  <a:moveTo>
                    <a:pt x="861" y="598"/>
                  </a:moveTo>
                  <a:lnTo>
                    <a:pt x="861" y="598"/>
                  </a:lnTo>
                  <a:lnTo>
                    <a:pt x="825" y="598"/>
                  </a:lnTo>
                  <a:lnTo>
                    <a:pt x="808" y="615"/>
                  </a:lnTo>
                  <a:lnTo>
                    <a:pt x="720" y="650"/>
                  </a:lnTo>
                  <a:lnTo>
                    <a:pt x="685" y="668"/>
                  </a:lnTo>
                  <a:lnTo>
                    <a:pt x="667" y="703"/>
                  </a:lnTo>
                  <a:lnTo>
                    <a:pt x="650" y="738"/>
                  </a:lnTo>
                  <a:lnTo>
                    <a:pt x="632" y="773"/>
                  </a:lnTo>
                  <a:lnTo>
                    <a:pt x="562" y="791"/>
                  </a:lnTo>
                  <a:lnTo>
                    <a:pt x="544" y="756"/>
                  </a:lnTo>
                  <a:lnTo>
                    <a:pt x="544" y="738"/>
                  </a:lnTo>
                  <a:lnTo>
                    <a:pt x="509" y="720"/>
                  </a:lnTo>
                  <a:lnTo>
                    <a:pt x="457" y="738"/>
                  </a:lnTo>
                  <a:lnTo>
                    <a:pt x="369" y="720"/>
                  </a:lnTo>
                  <a:lnTo>
                    <a:pt x="334" y="738"/>
                  </a:lnTo>
                  <a:lnTo>
                    <a:pt x="298" y="756"/>
                  </a:lnTo>
                  <a:lnTo>
                    <a:pt x="298" y="738"/>
                  </a:lnTo>
                  <a:lnTo>
                    <a:pt x="281" y="720"/>
                  </a:lnTo>
                  <a:lnTo>
                    <a:pt x="263" y="685"/>
                  </a:lnTo>
                  <a:lnTo>
                    <a:pt x="246" y="720"/>
                  </a:lnTo>
                  <a:lnTo>
                    <a:pt x="246" y="738"/>
                  </a:lnTo>
                  <a:lnTo>
                    <a:pt x="228" y="738"/>
                  </a:lnTo>
                  <a:lnTo>
                    <a:pt x="193" y="738"/>
                  </a:lnTo>
                  <a:lnTo>
                    <a:pt x="158" y="720"/>
                  </a:lnTo>
                  <a:lnTo>
                    <a:pt x="105" y="738"/>
                  </a:lnTo>
                  <a:lnTo>
                    <a:pt x="53" y="720"/>
                  </a:lnTo>
                  <a:lnTo>
                    <a:pt x="35" y="668"/>
                  </a:lnTo>
                  <a:lnTo>
                    <a:pt x="35" y="580"/>
                  </a:lnTo>
                  <a:lnTo>
                    <a:pt x="35" y="562"/>
                  </a:lnTo>
                  <a:lnTo>
                    <a:pt x="17" y="545"/>
                  </a:lnTo>
                  <a:lnTo>
                    <a:pt x="0" y="527"/>
                  </a:lnTo>
                  <a:lnTo>
                    <a:pt x="0" y="510"/>
                  </a:lnTo>
                  <a:lnTo>
                    <a:pt x="17" y="492"/>
                  </a:lnTo>
                  <a:lnTo>
                    <a:pt x="35" y="475"/>
                  </a:lnTo>
                  <a:lnTo>
                    <a:pt x="70" y="457"/>
                  </a:lnTo>
                  <a:lnTo>
                    <a:pt x="140" y="475"/>
                  </a:lnTo>
                  <a:lnTo>
                    <a:pt x="158" y="475"/>
                  </a:lnTo>
                  <a:lnTo>
                    <a:pt x="175" y="457"/>
                  </a:lnTo>
                  <a:lnTo>
                    <a:pt x="175" y="404"/>
                  </a:lnTo>
                  <a:lnTo>
                    <a:pt x="175" y="352"/>
                  </a:lnTo>
                  <a:lnTo>
                    <a:pt x="175" y="317"/>
                  </a:lnTo>
                  <a:lnTo>
                    <a:pt x="193" y="299"/>
                  </a:lnTo>
                  <a:lnTo>
                    <a:pt x="228" y="264"/>
                  </a:lnTo>
                  <a:lnTo>
                    <a:pt x="228" y="229"/>
                  </a:lnTo>
                  <a:lnTo>
                    <a:pt x="211" y="194"/>
                  </a:lnTo>
                  <a:lnTo>
                    <a:pt x="193" y="141"/>
                  </a:lnTo>
                  <a:lnTo>
                    <a:pt x="211" y="106"/>
                  </a:lnTo>
                  <a:lnTo>
                    <a:pt x="228" y="71"/>
                  </a:lnTo>
                  <a:lnTo>
                    <a:pt x="263" y="35"/>
                  </a:lnTo>
                  <a:lnTo>
                    <a:pt x="281" y="0"/>
                  </a:lnTo>
                  <a:lnTo>
                    <a:pt x="386" y="0"/>
                  </a:lnTo>
                  <a:lnTo>
                    <a:pt x="404" y="0"/>
                  </a:lnTo>
                  <a:lnTo>
                    <a:pt x="421" y="18"/>
                  </a:lnTo>
                  <a:lnTo>
                    <a:pt x="457" y="53"/>
                  </a:lnTo>
                  <a:lnTo>
                    <a:pt x="474" y="53"/>
                  </a:lnTo>
                  <a:lnTo>
                    <a:pt x="474" y="88"/>
                  </a:lnTo>
                  <a:lnTo>
                    <a:pt x="492" y="123"/>
                  </a:lnTo>
                  <a:lnTo>
                    <a:pt x="527" y="141"/>
                  </a:lnTo>
                  <a:lnTo>
                    <a:pt x="562" y="141"/>
                  </a:lnTo>
                  <a:lnTo>
                    <a:pt x="580" y="158"/>
                  </a:lnTo>
                  <a:lnTo>
                    <a:pt x="615" y="194"/>
                  </a:lnTo>
                  <a:lnTo>
                    <a:pt x="650" y="211"/>
                  </a:lnTo>
                  <a:lnTo>
                    <a:pt x="685" y="246"/>
                  </a:lnTo>
                  <a:lnTo>
                    <a:pt x="703" y="299"/>
                  </a:lnTo>
                  <a:lnTo>
                    <a:pt x="703" y="317"/>
                  </a:lnTo>
                  <a:lnTo>
                    <a:pt x="685" y="334"/>
                  </a:lnTo>
                  <a:lnTo>
                    <a:pt x="667" y="334"/>
                  </a:lnTo>
                  <a:lnTo>
                    <a:pt x="667" y="369"/>
                  </a:lnTo>
                  <a:lnTo>
                    <a:pt x="667" y="387"/>
                  </a:lnTo>
                  <a:lnTo>
                    <a:pt x="703" y="387"/>
                  </a:lnTo>
                  <a:lnTo>
                    <a:pt x="738" y="387"/>
                  </a:lnTo>
                  <a:lnTo>
                    <a:pt x="738" y="404"/>
                  </a:lnTo>
                  <a:lnTo>
                    <a:pt x="738" y="422"/>
                  </a:lnTo>
                  <a:lnTo>
                    <a:pt x="755" y="457"/>
                  </a:lnTo>
                  <a:lnTo>
                    <a:pt x="773" y="475"/>
                  </a:lnTo>
                  <a:lnTo>
                    <a:pt x="808" y="475"/>
                  </a:lnTo>
                  <a:lnTo>
                    <a:pt x="861" y="580"/>
                  </a:lnTo>
                  <a:lnTo>
                    <a:pt x="878" y="598"/>
                  </a:lnTo>
                  <a:lnTo>
                    <a:pt x="861" y="598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37"/>
            <p:cNvSpPr>
              <a:spLocks/>
            </p:cNvSpPr>
            <p:nvPr/>
          </p:nvSpPr>
          <p:spPr bwMode="auto">
            <a:xfrm>
              <a:off x="1700284" y="4137984"/>
              <a:ext cx="309173" cy="255250"/>
            </a:xfrm>
            <a:custGeom>
              <a:avLst/>
              <a:gdLst>
                <a:gd name="T0" fmla="*/ 71 w 510"/>
                <a:gd name="T1" fmla="*/ 35 h 421"/>
                <a:gd name="T2" fmla="*/ 71 w 510"/>
                <a:gd name="T3" fmla="*/ 35 h 421"/>
                <a:gd name="T4" fmla="*/ 88 w 510"/>
                <a:gd name="T5" fmla="*/ 70 h 421"/>
                <a:gd name="T6" fmla="*/ 106 w 510"/>
                <a:gd name="T7" fmla="*/ 53 h 421"/>
                <a:gd name="T8" fmla="*/ 123 w 510"/>
                <a:gd name="T9" fmla="*/ 35 h 421"/>
                <a:gd name="T10" fmla="*/ 176 w 510"/>
                <a:gd name="T11" fmla="*/ 35 h 421"/>
                <a:gd name="T12" fmla="*/ 246 w 510"/>
                <a:gd name="T13" fmla="*/ 17 h 421"/>
                <a:gd name="T14" fmla="*/ 299 w 510"/>
                <a:gd name="T15" fmla="*/ 35 h 421"/>
                <a:gd name="T16" fmla="*/ 369 w 510"/>
                <a:gd name="T17" fmla="*/ 0 h 421"/>
                <a:gd name="T18" fmla="*/ 369 w 510"/>
                <a:gd name="T19" fmla="*/ 53 h 421"/>
                <a:gd name="T20" fmla="*/ 387 w 510"/>
                <a:gd name="T21" fmla="*/ 88 h 421"/>
                <a:gd name="T22" fmla="*/ 404 w 510"/>
                <a:gd name="T23" fmla="*/ 105 h 421"/>
                <a:gd name="T24" fmla="*/ 475 w 510"/>
                <a:gd name="T25" fmla="*/ 175 h 421"/>
                <a:gd name="T26" fmla="*/ 457 w 510"/>
                <a:gd name="T27" fmla="*/ 193 h 421"/>
                <a:gd name="T28" fmla="*/ 457 w 510"/>
                <a:gd name="T29" fmla="*/ 193 h 421"/>
                <a:gd name="T30" fmla="*/ 510 w 510"/>
                <a:gd name="T31" fmla="*/ 228 h 421"/>
                <a:gd name="T32" fmla="*/ 510 w 510"/>
                <a:gd name="T33" fmla="*/ 263 h 421"/>
                <a:gd name="T34" fmla="*/ 510 w 510"/>
                <a:gd name="T35" fmla="*/ 263 h 421"/>
                <a:gd name="T36" fmla="*/ 492 w 510"/>
                <a:gd name="T37" fmla="*/ 281 h 421"/>
                <a:gd name="T38" fmla="*/ 475 w 510"/>
                <a:gd name="T39" fmla="*/ 334 h 421"/>
                <a:gd name="T40" fmla="*/ 334 w 510"/>
                <a:gd name="T41" fmla="*/ 421 h 421"/>
                <a:gd name="T42" fmla="*/ 299 w 510"/>
                <a:gd name="T43" fmla="*/ 386 h 421"/>
                <a:gd name="T44" fmla="*/ 264 w 510"/>
                <a:gd name="T45" fmla="*/ 369 h 421"/>
                <a:gd name="T46" fmla="*/ 246 w 510"/>
                <a:gd name="T47" fmla="*/ 369 h 421"/>
                <a:gd name="T48" fmla="*/ 229 w 510"/>
                <a:gd name="T49" fmla="*/ 386 h 421"/>
                <a:gd name="T50" fmla="*/ 211 w 510"/>
                <a:gd name="T51" fmla="*/ 404 h 421"/>
                <a:gd name="T52" fmla="*/ 176 w 510"/>
                <a:gd name="T53" fmla="*/ 369 h 421"/>
                <a:gd name="T54" fmla="*/ 141 w 510"/>
                <a:gd name="T55" fmla="*/ 334 h 421"/>
                <a:gd name="T56" fmla="*/ 106 w 510"/>
                <a:gd name="T57" fmla="*/ 351 h 421"/>
                <a:gd name="T58" fmla="*/ 88 w 510"/>
                <a:gd name="T59" fmla="*/ 334 h 421"/>
                <a:gd name="T60" fmla="*/ 71 w 510"/>
                <a:gd name="T61" fmla="*/ 281 h 421"/>
                <a:gd name="T62" fmla="*/ 53 w 510"/>
                <a:gd name="T63" fmla="*/ 263 h 421"/>
                <a:gd name="T64" fmla="*/ 18 w 510"/>
                <a:gd name="T65" fmla="*/ 263 h 421"/>
                <a:gd name="T66" fmla="*/ 0 w 510"/>
                <a:gd name="T67" fmla="*/ 228 h 421"/>
                <a:gd name="T68" fmla="*/ 0 w 510"/>
                <a:gd name="T69" fmla="*/ 175 h 421"/>
                <a:gd name="T70" fmla="*/ 71 w 510"/>
                <a:gd name="T71" fmla="*/ 35 h 421"/>
                <a:gd name="T72" fmla="*/ 71 w 510"/>
                <a:gd name="T73" fmla="*/ 35 h 42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510"/>
                <a:gd name="T112" fmla="*/ 0 h 421"/>
                <a:gd name="T113" fmla="*/ 510 w 510"/>
                <a:gd name="T114" fmla="*/ 421 h 42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510" h="421">
                  <a:moveTo>
                    <a:pt x="71" y="35"/>
                  </a:moveTo>
                  <a:lnTo>
                    <a:pt x="71" y="35"/>
                  </a:lnTo>
                  <a:lnTo>
                    <a:pt x="71" y="53"/>
                  </a:lnTo>
                  <a:lnTo>
                    <a:pt x="88" y="70"/>
                  </a:lnTo>
                  <a:lnTo>
                    <a:pt x="106" y="53"/>
                  </a:lnTo>
                  <a:lnTo>
                    <a:pt x="123" y="35"/>
                  </a:lnTo>
                  <a:lnTo>
                    <a:pt x="176" y="35"/>
                  </a:lnTo>
                  <a:lnTo>
                    <a:pt x="246" y="17"/>
                  </a:lnTo>
                  <a:lnTo>
                    <a:pt x="299" y="35"/>
                  </a:lnTo>
                  <a:lnTo>
                    <a:pt x="352" y="35"/>
                  </a:lnTo>
                  <a:lnTo>
                    <a:pt x="369" y="0"/>
                  </a:lnTo>
                  <a:lnTo>
                    <a:pt x="369" y="53"/>
                  </a:lnTo>
                  <a:lnTo>
                    <a:pt x="387" y="88"/>
                  </a:lnTo>
                  <a:lnTo>
                    <a:pt x="404" y="105"/>
                  </a:lnTo>
                  <a:lnTo>
                    <a:pt x="440" y="140"/>
                  </a:lnTo>
                  <a:lnTo>
                    <a:pt x="475" y="175"/>
                  </a:lnTo>
                  <a:lnTo>
                    <a:pt x="457" y="193"/>
                  </a:lnTo>
                  <a:lnTo>
                    <a:pt x="475" y="228"/>
                  </a:lnTo>
                  <a:lnTo>
                    <a:pt x="510" y="228"/>
                  </a:lnTo>
                  <a:lnTo>
                    <a:pt x="510" y="263"/>
                  </a:lnTo>
                  <a:lnTo>
                    <a:pt x="492" y="281"/>
                  </a:lnTo>
                  <a:lnTo>
                    <a:pt x="492" y="298"/>
                  </a:lnTo>
                  <a:lnTo>
                    <a:pt x="475" y="334"/>
                  </a:lnTo>
                  <a:lnTo>
                    <a:pt x="440" y="369"/>
                  </a:lnTo>
                  <a:lnTo>
                    <a:pt x="334" y="421"/>
                  </a:lnTo>
                  <a:lnTo>
                    <a:pt x="299" y="386"/>
                  </a:lnTo>
                  <a:lnTo>
                    <a:pt x="282" y="369"/>
                  </a:lnTo>
                  <a:lnTo>
                    <a:pt x="264" y="369"/>
                  </a:lnTo>
                  <a:lnTo>
                    <a:pt x="246" y="369"/>
                  </a:lnTo>
                  <a:lnTo>
                    <a:pt x="246" y="386"/>
                  </a:lnTo>
                  <a:lnTo>
                    <a:pt x="229" y="386"/>
                  </a:lnTo>
                  <a:lnTo>
                    <a:pt x="211" y="404"/>
                  </a:lnTo>
                  <a:lnTo>
                    <a:pt x="194" y="386"/>
                  </a:lnTo>
                  <a:lnTo>
                    <a:pt x="176" y="369"/>
                  </a:lnTo>
                  <a:lnTo>
                    <a:pt x="159" y="351"/>
                  </a:lnTo>
                  <a:lnTo>
                    <a:pt x="141" y="334"/>
                  </a:lnTo>
                  <a:lnTo>
                    <a:pt x="106" y="351"/>
                  </a:lnTo>
                  <a:lnTo>
                    <a:pt x="88" y="334"/>
                  </a:lnTo>
                  <a:lnTo>
                    <a:pt x="88" y="298"/>
                  </a:lnTo>
                  <a:lnTo>
                    <a:pt x="71" y="281"/>
                  </a:lnTo>
                  <a:lnTo>
                    <a:pt x="53" y="263"/>
                  </a:lnTo>
                  <a:lnTo>
                    <a:pt x="18" y="263"/>
                  </a:lnTo>
                  <a:lnTo>
                    <a:pt x="0" y="246"/>
                  </a:lnTo>
                  <a:lnTo>
                    <a:pt x="0" y="228"/>
                  </a:lnTo>
                  <a:lnTo>
                    <a:pt x="0" y="175"/>
                  </a:lnTo>
                  <a:lnTo>
                    <a:pt x="36" y="105"/>
                  </a:lnTo>
                  <a:lnTo>
                    <a:pt x="71" y="35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38"/>
            <p:cNvSpPr>
              <a:spLocks/>
            </p:cNvSpPr>
            <p:nvPr/>
          </p:nvSpPr>
          <p:spPr bwMode="auto">
            <a:xfrm>
              <a:off x="1455371" y="3893041"/>
              <a:ext cx="277043" cy="202502"/>
            </a:xfrm>
            <a:custGeom>
              <a:avLst/>
              <a:gdLst>
                <a:gd name="T0" fmla="*/ 422 w 457"/>
                <a:gd name="T1" fmla="*/ 263 h 334"/>
                <a:gd name="T2" fmla="*/ 387 w 457"/>
                <a:gd name="T3" fmla="*/ 298 h 334"/>
                <a:gd name="T4" fmla="*/ 352 w 457"/>
                <a:gd name="T5" fmla="*/ 281 h 334"/>
                <a:gd name="T6" fmla="*/ 352 w 457"/>
                <a:gd name="T7" fmla="*/ 281 h 334"/>
                <a:gd name="T8" fmla="*/ 334 w 457"/>
                <a:gd name="T9" fmla="*/ 298 h 334"/>
                <a:gd name="T10" fmla="*/ 317 w 457"/>
                <a:gd name="T11" fmla="*/ 316 h 334"/>
                <a:gd name="T12" fmla="*/ 281 w 457"/>
                <a:gd name="T13" fmla="*/ 298 h 334"/>
                <a:gd name="T14" fmla="*/ 246 w 457"/>
                <a:gd name="T15" fmla="*/ 263 h 334"/>
                <a:gd name="T16" fmla="*/ 211 w 457"/>
                <a:gd name="T17" fmla="*/ 281 h 334"/>
                <a:gd name="T18" fmla="*/ 158 w 457"/>
                <a:gd name="T19" fmla="*/ 334 h 334"/>
                <a:gd name="T20" fmla="*/ 123 w 457"/>
                <a:gd name="T21" fmla="*/ 334 h 334"/>
                <a:gd name="T22" fmla="*/ 36 w 457"/>
                <a:gd name="T23" fmla="*/ 316 h 334"/>
                <a:gd name="T24" fmla="*/ 18 w 457"/>
                <a:gd name="T25" fmla="*/ 246 h 334"/>
                <a:gd name="T26" fmla="*/ 18 w 457"/>
                <a:gd name="T27" fmla="*/ 211 h 334"/>
                <a:gd name="T28" fmla="*/ 36 w 457"/>
                <a:gd name="T29" fmla="*/ 176 h 334"/>
                <a:gd name="T30" fmla="*/ 18 w 457"/>
                <a:gd name="T31" fmla="*/ 140 h 334"/>
                <a:gd name="T32" fmla="*/ 0 w 457"/>
                <a:gd name="T33" fmla="*/ 123 h 334"/>
                <a:gd name="T34" fmla="*/ 0 w 457"/>
                <a:gd name="T35" fmla="*/ 88 h 334"/>
                <a:gd name="T36" fmla="*/ 0 w 457"/>
                <a:gd name="T37" fmla="*/ 53 h 334"/>
                <a:gd name="T38" fmla="*/ 88 w 457"/>
                <a:gd name="T39" fmla="*/ 0 h 334"/>
                <a:gd name="T40" fmla="*/ 123 w 457"/>
                <a:gd name="T41" fmla="*/ 53 h 334"/>
                <a:gd name="T42" fmla="*/ 141 w 457"/>
                <a:gd name="T43" fmla="*/ 70 h 334"/>
                <a:gd name="T44" fmla="*/ 158 w 457"/>
                <a:gd name="T45" fmla="*/ 53 h 334"/>
                <a:gd name="T46" fmla="*/ 194 w 457"/>
                <a:gd name="T47" fmla="*/ 88 h 334"/>
                <a:gd name="T48" fmla="*/ 211 w 457"/>
                <a:gd name="T49" fmla="*/ 70 h 334"/>
                <a:gd name="T50" fmla="*/ 229 w 457"/>
                <a:gd name="T51" fmla="*/ 70 h 334"/>
                <a:gd name="T52" fmla="*/ 299 w 457"/>
                <a:gd name="T53" fmla="*/ 35 h 334"/>
                <a:gd name="T54" fmla="*/ 387 w 457"/>
                <a:gd name="T55" fmla="*/ 105 h 334"/>
                <a:gd name="T56" fmla="*/ 404 w 457"/>
                <a:gd name="T57" fmla="*/ 123 h 334"/>
                <a:gd name="T58" fmla="*/ 440 w 457"/>
                <a:gd name="T59" fmla="*/ 158 h 334"/>
                <a:gd name="T60" fmla="*/ 457 w 457"/>
                <a:gd name="T61" fmla="*/ 211 h 334"/>
                <a:gd name="T62" fmla="*/ 440 w 457"/>
                <a:gd name="T63" fmla="*/ 263 h 334"/>
                <a:gd name="T64" fmla="*/ 422 w 457"/>
                <a:gd name="T65" fmla="*/ 263 h 33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57"/>
                <a:gd name="T100" fmla="*/ 0 h 334"/>
                <a:gd name="T101" fmla="*/ 457 w 457"/>
                <a:gd name="T102" fmla="*/ 334 h 33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57" h="334">
                  <a:moveTo>
                    <a:pt x="422" y="263"/>
                  </a:moveTo>
                  <a:lnTo>
                    <a:pt x="422" y="263"/>
                  </a:lnTo>
                  <a:lnTo>
                    <a:pt x="404" y="281"/>
                  </a:lnTo>
                  <a:lnTo>
                    <a:pt x="387" y="298"/>
                  </a:lnTo>
                  <a:lnTo>
                    <a:pt x="352" y="281"/>
                  </a:lnTo>
                  <a:lnTo>
                    <a:pt x="334" y="298"/>
                  </a:lnTo>
                  <a:lnTo>
                    <a:pt x="317" y="316"/>
                  </a:lnTo>
                  <a:lnTo>
                    <a:pt x="299" y="298"/>
                  </a:lnTo>
                  <a:lnTo>
                    <a:pt x="281" y="298"/>
                  </a:lnTo>
                  <a:lnTo>
                    <a:pt x="264" y="281"/>
                  </a:lnTo>
                  <a:lnTo>
                    <a:pt x="246" y="263"/>
                  </a:lnTo>
                  <a:lnTo>
                    <a:pt x="211" y="281"/>
                  </a:lnTo>
                  <a:lnTo>
                    <a:pt x="194" y="298"/>
                  </a:lnTo>
                  <a:lnTo>
                    <a:pt x="158" y="334"/>
                  </a:lnTo>
                  <a:lnTo>
                    <a:pt x="123" y="334"/>
                  </a:lnTo>
                  <a:lnTo>
                    <a:pt x="71" y="334"/>
                  </a:lnTo>
                  <a:lnTo>
                    <a:pt x="36" y="316"/>
                  </a:lnTo>
                  <a:lnTo>
                    <a:pt x="18" y="281"/>
                  </a:lnTo>
                  <a:lnTo>
                    <a:pt x="18" y="246"/>
                  </a:lnTo>
                  <a:lnTo>
                    <a:pt x="18" y="211"/>
                  </a:lnTo>
                  <a:lnTo>
                    <a:pt x="36" y="176"/>
                  </a:lnTo>
                  <a:lnTo>
                    <a:pt x="36" y="158"/>
                  </a:lnTo>
                  <a:lnTo>
                    <a:pt x="18" y="140"/>
                  </a:lnTo>
                  <a:lnTo>
                    <a:pt x="0" y="140"/>
                  </a:lnTo>
                  <a:lnTo>
                    <a:pt x="0" y="123"/>
                  </a:lnTo>
                  <a:lnTo>
                    <a:pt x="0" y="88"/>
                  </a:lnTo>
                  <a:lnTo>
                    <a:pt x="0" y="70"/>
                  </a:lnTo>
                  <a:lnTo>
                    <a:pt x="0" y="53"/>
                  </a:lnTo>
                  <a:lnTo>
                    <a:pt x="88" y="0"/>
                  </a:lnTo>
                  <a:lnTo>
                    <a:pt x="123" y="53"/>
                  </a:lnTo>
                  <a:lnTo>
                    <a:pt x="141" y="70"/>
                  </a:lnTo>
                  <a:lnTo>
                    <a:pt x="158" y="53"/>
                  </a:lnTo>
                  <a:lnTo>
                    <a:pt x="176" y="70"/>
                  </a:lnTo>
                  <a:lnTo>
                    <a:pt x="194" y="88"/>
                  </a:lnTo>
                  <a:lnTo>
                    <a:pt x="211" y="70"/>
                  </a:lnTo>
                  <a:lnTo>
                    <a:pt x="229" y="70"/>
                  </a:lnTo>
                  <a:lnTo>
                    <a:pt x="299" y="35"/>
                  </a:lnTo>
                  <a:lnTo>
                    <a:pt x="352" y="70"/>
                  </a:lnTo>
                  <a:lnTo>
                    <a:pt x="387" y="105"/>
                  </a:lnTo>
                  <a:lnTo>
                    <a:pt x="404" y="123"/>
                  </a:lnTo>
                  <a:lnTo>
                    <a:pt x="422" y="140"/>
                  </a:lnTo>
                  <a:lnTo>
                    <a:pt x="440" y="158"/>
                  </a:lnTo>
                  <a:lnTo>
                    <a:pt x="457" y="211"/>
                  </a:lnTo>
                  <a:lnTo>
                    <a:pt x="440" y="228"/>
                  </a:lnTo>
                  <a:lnTo>
                    <a:pt x="440" y="263"/>
                  </a:lnTo>
                  <a:lnTo>
                    <a:pt x="422" y="263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39"/>
            <p:cNvSpPr>
              <a:spLocks/>
            </p:cNvSpPr>
            <p:nvPr/>
          </p:nvSpPr>
          <p:spPr bwMode="auto">
            <a:xfrm>
              <a:off x="1657849" y="4340486"/>
              <a:ext cx="244913" cy="276470"/>
            </a:xfrm>
            <a:custGeom>
              <a:avLst/>
              <a:gdLst>
                <a:gd name="T0" fmla="*/ 404 w 404"/>
                <a:gd name="T1" fmla="*/ 87 h 456"/>
                <a:gd name="T2" fmla="*/ 404 w 404"/>
                <a:gd name="T3" fmla="*/ 87 h 456"/>
                <a:gd name="T4" fmla="*/ 369 w 404"/>
                <a:gd name="T5" fmla="*/ 105 h 456"/>
                <a:gd name="T6" fmla="*/ 369 w 404"/>
                <a:gd name="T7" fmla="*/ 140 h 456"/>
                <a:gd name="T8" fmla="*/ 369 w 404"/>
                <a:gd name="T9" fmla="*/ 140 h 456"/>
                <a:gd name="T10" fmla="*/ 369 w 404"/>
                <a:gd name="T11" fmla="*/ 298 h 456"/>
                <a:gd name="T12" fmla="*/ 369 w 404"/>
                <a:gd name="T13" fmla="*/ 298 h 456"/>
                <a:gd name="T14" fmla="*/ 352 w 404"/>
                <a:gd name="T15" fmla="*/ 333 h 456"/>
                <a:gd name="T16" fmla="*/ 334 w 404"/>
                <a:gd name="T17" fmla="*/ 351 h 456"/>
                <a:gd name="T18" fmla="*/ 299 w 404"/>
                <a:gd name="T19" fmla="*/ 386 h 456"/>
                <a:gd name="T20" fmla="*/ 299 w 404"/>
                <a:gd name="T21" fmla="*/ 386 h 456"/>
                <a:gd name="T22" fmla="*/ 246 w 404"/>
                <a:gd name="T23" fmla="*/ 404 h 456"/>
                <a:gd name="T24" fmla="*/ 246 w 404"/>
                <a:gd name="T25" fmla="*/ 404 h 456"/>
                <a:gd name="T26" fmla="*/ 141 w 404"/>
                <a:gd name="T27" fmla="*/ 456 h 456"/>
                <a:gd name="T28" fmla="*/ 141 w 404"/>
                <a:gd name="T29" fmla="*/ 456 h 456"/>
                <a:gd name="T30" fmla="*/ 141 w 404"/>
                <a:gd name="T31" fmla="*/ 456 h 456"/>
                <a:gd name="T32" fmla="*/ 141 w 404"/>
                <a:gd name="T33" fmla="*/ 439 h 456"/>
                <a:gd name="T34" fmla="*/ 123 w 404"/>
                <a:gd name="T35" fmla="*/ 421 h 456"/>
                <a:gd name="T36" fmla="*/ 106 w 404"/>
                <a:gd name="T37" fmla="*/ 421 h 456"/>
                <a:gd name="T38" fmla="*/ 88 w 404"/>
                <a:gd name="T39" fmla="*/ 421 h 456"/>
                <a:gd name="T40" fmla="*/ 88 w 404"/>
                <a:gd name="T41" fmla="*/ 421 h 456"/>
                <a:gd name="T42" fmla="*/ 53 w 404"/>
                <a:gd name="T43" fmla="*/ 316 h 456"/>
                <a:gd name="T44" fmla="*/ 0 w 404"/>
                <a:gd name="T45" fmla="*/ 228 h 456"/>
                <a:gd name="T46" fmla="*/ 0 w 404"/>
                <a:gd name="T47" fmla="*/ 228 h 456"/>
                <a:gd name="T48" fmla="*/ 35 w 404"/>
                <a:gd name="T49" fmla="*/ 228 h 456"/>
                <a:gd name="T50" fmla="*/ 53 w 404"/>
                <a:gd name="T51" fmla="*/ 210 h 456"/>
                <a:gd name="T52" fmla="*/ 53 w 404"/>
                <a:gd name="T53" fmla="*/ 175 h 456"/>
                <a:gd name="T54" fmla="*/ 53 w 404"/>
                <a:gd name="T55" fmla="*/ 175 h 456"/>
                <a:gd name="T56" fmla="*/ 53 w 404"/>
                <a:gd name="T57" fmla="*/ 105 h 456"/>
                <a:gd name="T58" fmla="*/ 53 w 404"/>
                <a:gd name="T59" fmla="*/ 105 h 456"/>
                <a:gd name="T60" fmla="*/ 53 w 404"/>
                <a:gd name="T61" fmla="*/ 70 h 456"/>
                <a:gd name="T62" fmla="*/ 88 w 404"/>
                <a:gd name="T63" fmla="*/ 35 h 456"/>
                <a:gd name="T64" fmla="*/ 158 w 404"/>
                <a:gd name="T65" fmla="*/ 0 h 456"/>
                <a:gd name="T66" fmla="*/ 158 w 404"/>
                <a:gd name="T67" fmla="*/ 0 h 456"/>
                <a:gd name="T68" fmla="*/ 158 w 404"/>
                <a:gd name="T69" fmla="*/ 17 h 456"/>
                <a:gd name="T70" fmla="*/ 176 w 404"/>
                <a:gd name="T71" fmla="*/ 17 h 456"/>
                <a:gd name="T72" fmla="*/ 176 w 404"/>
                <a:gd name="T73" fmla="*/ 17 h 456"/>
                <a:gd name="T74" fmla="*/ 211 w 404"/>
                <a:gd name="T75" fmla="*/ 0 h 456"/>
                <a:gd name="T76" fmla="*/ 211 w 404"/>
                <a:gd name="T77" fmla="*/ 0 h 456"/>
                <a:gd name="T78" fmla="*/ 229 w 404"/>
                <a:gd name="T79" fmla="*/ 17 h 456"/>
                <a:gd name="T80" fmla="*/ 246 w 404"/>
                <a:gd name="T81" fmla="*/ 35 h 456"/>
                <a:gd name="T82" fmla="*/ 264 w 404"/>
                <a:gd name="T83" fmla="*/ 52 h 456"/>
                <a:gd name="T84" fmla="*/ 281 w 404"/>
                <a:gd name="T85" fmla="*/ 70 h 456"/>
                <a:gd name="T86" fmla="*/ 281 w 404"/>
                <a:gd name="T87" fmla="*/ 70 h 456"/>
                <a:gd name="T88" fmla="*/ 299 w 404"/>
                <a:gd name="T89" fmla="*/ 52 h 456"/>
                <a:gd name="T90" fmla="*/ 316 w 404"/>
                <a:gd name="T91" fmla="*/ 52 h 456"/>
                <a:gd name="T92" fmla="*/ 316 w 404"/>
                <a:gd name="T93" fmla="*/ 35 h 456"/>
                <a:gd name="T94" fmla="*/ 334 w 404"/>
                <a:gd name="T95" fmla="*/ 35 h 456"/>
                <a:gd name="T96" fmla="*/ 334 w 404"/>
                <a:gd name="T97" fmla="*/ 35 h 456"/>
                <a:gd name="T98" fmla="*/ 352 w 404"/>
                <a:gd name="T99" fmla="*/ 35 h 456"/>
                <a:gd name="T100" fmla="*/ 369 w 404"/>
                <a:gd name="T101" fmla="*/ 52 h 456"/>
                <a:gd name="T102" fmla="*/ 404 w 404"/>
                <a:gd name="T103" fmla="*/ 87 h 456"/>
                <a:gd name="T104" fmla="*/ 404 w 404"/>
                <a:gd name="T105" fmla="*/ 87 h 456"/>
                <a:gd name="T106" fmla="*/ 404 w 404"/>
                <a:gd name="T107" fmla="*/ 87 h 456"/>
                <a:gd name="T108" fmla="*/ 404 w 404"/>
                <a:gd name="T109" fmla="*/ 87 h 45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04"/>
                <a:gd name="T166" fmla="*/ 0 h 456"/>
                <a:gd name="T167" fmla="*/ 404 w 404"/>
                <a:gd name="T168" fmla="*/ 456 h 45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04" h="456">
                  <a:moveTo>
                    <a:pt x="404" y="87"/>
                  </a:moveTo>
                  <a:lnTo>
                    <a:pt x="404" y="87"/>
                  </a:lnTo>
                  <a:lnTo>
                    <a:pt x="369" y="105"/>
                  </a:lnTo>
                  <a:lnTo>
                    <a:pt x="369" y="140"/>
                  </a:lnTo>
                  <a:lnTo>
                    <a:pt x="369" y="298"/>
                  </a:lnTo>
                  <a:lnTo>
                    <a:pt x="352" y="333"/>
                  </a:lnTo>
                  <a:lnTo>
                    <a:pt x="334" y="351"/>
                  </a:lnTo>
                  <a:lnTo>
                    <a:pt x="299" y="386"/>
                  </a:lnTo>
                  <a:lnTo>
                    <a:pt x="246" y="404"/>
                  </a:lnTo>
                  <a:lnTo>
                    <a:pt x="141" y="456"/>
                  </a:lnTo>
                  <a:lnTo>
                    <a:pt x="141" y="439"/>
                  </a:lnTo>
                  <a:lnTo>
                    <a:pt x="123" y="421"/>
                  </a:lnTo>
                  <a:lnTo>
                    <a:pt x="106" y="421"/>
                  </a:lnTo>
                  <a:lnTo>
                    <a:pt x="88" y="421"/>
                  </a:lnTo>
                  <a:lnTo>
                    <a:pt x="53" y="316"/>
                  </a:lnTo>
                  <a:lnTo>
                    <a:pt x="0" y="228"/>
                  </a:lnTo>
                  <a:lnTo>
                    <a:pt x="35" y="228"/>
                  </a:lnTo>
                  <a:lnTo>
                    <a:pt x="53" y="210"/>
                  </a:lnTo>
                  <a:lnTo>
                    <a:pt x="53" y="175"/>
                  </a:lnTo>
                  <a:lnTo>
                    <a:pt x="53" y="105"/>
                  </a:lnTo>
                  <a:lnTo>
                    <a:pt x="53" y="70"/>
                  </a:lnTo>
                  <a:lnTo>
                    <a:pt x="88" y="35"/>
                  </a:lnTo>
                  <a:lnTo>
                    <a:pt x="158" y="0"/>
                  </a:lnTo>
                  <a:lnTo>
                    <a:pt x="158" y="17"/>
                  </a:lnTo>
                  <a:lnTo>
                    <a:pt x="176" y="17"/>
                  </a:lnTo>
                  <a:lnTo>
                    <a:pt x="211" y="0"/>
                  </a:lnTo>
                  <a:lnTo>
                    <a:pt x="229" y="17"/>
                  </a:lnTo>
                  <a:lnTo>
                    <a:pt x="246" y="35"/>
                  </a:lnTo>
                  <a:lnTo>
                    <a:pt x="264" y="52"/>
                  </a:lnTo>
                  <a:lnTo>
                    <a:pt x="281" y="70"/>
                  </a:lnTo>
                  <a:lnTo>
                    <a:pt x="299" y="52"/>
                  </a:lnTo>
                  <a:lnTo>
                    <a:pt x="316" y="52"/>
                  </a:lnTo>
                  <a:lnTo>
                    <a:pt x="316" y="35"/>
                  </a:lnTo>
                  <a:lnTo>
                    <a:pt x="334" y="35"/>
                  </a:lnTo>
                  <a:lnTo>
                    <a:pt x="352" y="35"/>
                  </a:lnTo>
                  <a:lnTo>
                    <a:pt x="369" y="52"/>
                  </a:lnTo>
                  <a:lnTo>
                    <a:pt x="404" y="87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40"/>
            <p:cNvSpPr>
              <a:spLocks/>
            </p:cNvSpPr>
            <p:nvPr/>
          </p:nvSpPr>
          <p:spPr bwMode="auto">
            <a:xfrm>
              <a:off x="1412936" y="4372013"/>
              <a:ext cx="330390" cy="351651"/>
            </a:xfrm>
            <a:custGeom>
              <a:avLst/>
              <a:gdLst>
                <a:gd name="T0" fmla="*/ 545 w 545"/>
                <a:gd name="T1" fmla="*/ 457 h 580"/>
                <a:gd name="T2" fmla="*/ 545 w 545"/>
                <a:gd name="T3" fmla="*/ 404 h 580"/>
                <a:gd name="T4" fmla="*/ 527 w 545"/>
                <a:gd name="T5" fmla="*/ 369 h 580"/>
                <a:gd name="T6" fmla="*/ 492 w 545"/>
                <a:gd name="T7" fmla="*/ 369 h 580"/>
                <a:gd name="T8" fmla="*/ 457 w 545"/>
                <a:gd name="T9" fmla="*/ 264 h 580"/>
                <a:gd name="T10" fmla="*/ 404 w 545"/>
                <a:gd name="T11" fmla="*/ 176 h 580"/>
                <a:gd name="T12" fmla="*/ 316 w 545"/>
                <a:gd name="T13" fmla="*/ 123 h 580"/>
                <a:gd name="T14" fmla="*/ 316 w 545"/>
                <a:gd name="T15" fmla="*/ 88 h 580"/>
                <a:gd name="T16" fmla="*/ 299 w 545"/>
                <a:gd name="T17" fmla="*/ 53 h 580"/>
                <a:gd name="T18" fmla="*/ 264 w 545"/>
                <a:gd name="T19" fmla="*/ 35 h 580"/>
                <a:gd name="T20" fmla="*/ 228 w 545"/>
                <a:gd name="T21" fmla="*/ 0 h 580"/>
                <a:gd name="T22" fmla="*/ 176 w 545"/>
                <a:gd name="T23" fmla="*/ 0 h 580"/>
                <a:gd name="T24" fmla="*/ 141 w 545"/>
                <a:gd name="T25" fmla="*/ 71 h 580"/>
                <a:gd name="T26" fmla="*/ 106 w 545"/>
                <a:gd name="T27" fmla="*/ 106 h 580"/>
                <a:gd name="T28" fmla="*/ 106 w 545"/>
                <a:gd name="T29" fmla="*/ 141 h 580"/>
                <a:gd name="T30" fmla="*/ 88 w 545"/>
                <a:gd name="T31" fmla="*/ 158 h 580"/>
                <a:gd name="T32" fmla="*/ 123 w 545"/>
                <a:gd name="T33" fmla="*/ 193 h 580"/>
                <a:gd name="T34" fmla="*/ 106 w 545"/>
                <a:gd name="T35" fmla="*/ 211 h 580"/>
                <a:gd name="T36" fmla="*/ 88 w 545"/>
                <a:gd name="T37" fmla="*/ 229 h 580"/>
                <a:gd name="T38" fmla="*/ 106 w 545"/>
                <a:gd name="T39" fmla="*/ 264 h 580"/>
                <a:gd name="T40" fmla="*/ 53 w 545"/>
                <a:gd name="T41" fmla="*/ 352 h 580"/>
                <a:gd name="T42" fmla="*/ 0 w 545"/>
                <a:gd name="T43" fmla="*/ 439 h 580"/>
                <a:gd name="T44" fmla="*/ 35 w 545"/>
                <a:gd name="T45" fmla="*/ 545 h 580"/>
                <a:gd name="T46" fmla="*/ 35 w 545"/>
                <a:gd name="T47" fmla="*/ 545 h 580"/>
                <a:gd name="T48" fmla="*/ 53 w 545"/>
                <a:gd name="T49" fmla="*/ 545 h 580"/>
                <a:gd name="T50" fmla="*/ 106 w 545"/>
                <a:gd name="T51" fmla="*/ 562 h 580"/>
                <a:gd name="T52" fmla="*/ 158 w 545"/>
                <a:gd name="T53" fmla="*/ 580 h 580"/>
                <a:gd name="T54" fmla="*/ 228 w 545"/>
                <a:gd name="T55" fmla="*/ 580 h 580"/>
                <a:gd name="T56" fmla="*/ 246 w 545"/>
                <a:gd name="T57" fmla="*/ 580 h 580"/>
                <a:gd name="T58" fmla="*/ 264 w 545"/>
                <a:gd name="T59" fmla="*/ 545 h 580"/>
                <a:gd name="T60" fmla="*/ 316 w 545"/>
                <a:gd name="T61" fmla="*/ 474 h 580"/>
                <a:gd name="T62" fmla="*/ 334 w 545"/>
                <a:gd name="T63" fmla="*/ 439 h 580"/>
                <a:gd name="T64" fmla="*/ 439 w 545"/>
                <a:gd name="T65" fmla="*/ 439 h 580"/>
                <a:gd name="T66" fmla="*/ 474 w 545"/>
                <a:gd name="T67" fmla="*/ 474 h 580"/>
                <a:gd name="T68" fmla="*/ 527 w 545"/>
                <a:gd name="T69" fmla="*/ 510 h 580"/>
                <a:gd name="T70" fmla="*/ 545 w 545"/>
                <a:gd name="T71" fmla="*/ 457 h 580"/>
                <a:gd name="T72" fmla="*/ 545 w 545"/>
                <a:gd name="T73" fmla="*/ 457 h 58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545"/>
                <a:gd name="T112" fmla="*/ 0 h 580"/>
                <a:gd name="T113" fmla="*/ 545 w 545"/>
                <a:gd name="T114" fmla="*/ 580 h 58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545" h="580">
                  <a:moveTo>
                    <a:pt x="545" y="457"/>
                  </a:moveTo>
                  <a:lnTo>
                    <a:pt x="545" y="457"/>
                  </a:lnTo>
                  <a:lnTo>
                    <a:pt x="545" y="404"/>
                  </a:lnTo>
                  <a:lnTo>
                    <a:pt x="545" y="387"/>
                  </a:lnTo>
                  <a:lnTo>
                    <a:pt x="527" y="369"/>
                  </a:lnTo>
                  <a:lnTo>
                    <a:pt x="510" y="369"/>
                  </a:lnTo>
                  <a:lnTo>
                    <a:pt x="492" y="369"/>
                  </a:lnTo>
                  <a:lnTo>
                    <a:pt x="457" y="264"/>
                  </a:lnTo>
                  <a:lnTo>
                    <a:pt x="404" y="176"/>
                  </a:lnTo>
                  <a:lnTo>
                    <a:pt x="351" y="158"/>
                  </a:lnTo>
                  <a:lnTo>
                    <a:pt x="316" y="123"/>
                  </a:lnTo>
                  <a:lnTo>
                    <a:pt x="316" y="88"/>
                  </a:lnTo>
                  <a:lnTo>
                    <a:pt x="316" y="71"/>
                  </a:lnTo>
                  <a:lnTo>
                    <a:pt x="299" y="53"/>
                  </a:lnTo>
                  <a:lnTo>
                    <a:pt x="264" y="35"/>
                  </a:lnTo>
                  <a:lnTo>
                    <a:pt x="228" y="0"/>
                  </a:lnTo>
                  <a:lnTo>
                    <a:pt x="193" y="0"/>
                  </a:lnTo>
                  <a:lnTo>
                    <a:pt x="176" y="0"/>
                  </a:lnTo>
                  <a:lnTo>
                    <a:pt x="141" y="71"/>
                  </a:lnTo>
                  <a:lnTo>
                    <a:pt x="106" y="106"/>
                  </a:lnTo>
                  <a:lnTo>
                    <a:pt x="106" y="141"/>
                  </a:lnTo>
                  <a:lnTo>
                    <a:pt x="88" y="158"/>
                  </a:lnTo>
                  <a:lnTo>
                    <a:pt x="123" y="193"/>
                  </a:lnTo>
                  <a:lnTo>
                    <a:pt x="106" y="211"/>
                  </a:lnTo>
                  <a:lnTo>
                    <a:pt x="88" y="229"/>
                  </a:lnTo>
                  <a:lnTo>
                    <a:pt x="106" y="264"/>
                  </a:lnTo>
                  <a:lnTo>
                    <a:pt x="88" y="316"/>
                  </a:lnTo>
                  <a:lnTo>
                    <a:pt x="53" y="352"/>
                  </a:lnTo>
                  <a:lnTo>
                    <a:pt x="18" y="387"/>
                  </a:lnTo>
                  <a:lnTo>
                    <a:pt x="0" y="439"/>
                  </a:lnTo>
                  <a:lnTo>
                    <a:pt x="35" y="545"/>
                  </a:lnTo>
                  <a:lnTo>
                    <a:pt x="53" y="545"/>
                  </a:lnTo>
                  <a:lnTo>
                    <a:pt x="70" y="545"/>
                  </a:lnTo>
                  <a:lnTo>
                    <a:pt x="106" y="562"/>
                  </a:lnTo>
                  <a:lnTo>
                    <a:pt x="123" y="580"/>
                  </a:lnTo>
                  <a:lnTo>
                    <a:pt x="158" y="580"/>
                  </a:lnTo>
                  <a:lnTo>
                    <a:pt x="228" y="580"/>
                  </a:lnTo>
                  <a:lnTo>
                    <a:pt x="246" y="580"/>
                  </a:lnTo>
                  <a:lnTo>
                    <a:pt x="264" y="545"/>
                  </a:lnTo>
                  <a:lnTo>
                    <a:pt x="281" y="510"/>
                  </a:lnTo>
                  <a:lnTo>
                    <a:pt x="316" y="474"/>
                  </a:lnTo>
                  <a:lnTo>
                    <a:pt x="334" y="439"/>
                  </a:lnTo>
                  <a:lnTo>
                    <a:pt x="439" y="439"/>
                  </a:lnTo>
                  <a:lnTo>
                    <a:pt x="457" y="439"/>
                  </a:lnTo>
                  <a:lnTo>
                    <a:pt x="474" y="474"/>
                  </a:lnTo>
                  <a:lnTo>
                    <a:pt x="510" y="492"/>
                  </a:lnTo>
                  <a:lnTo>
                    <a:pt x="527" y="510"/>
                  </a:lnTo>
                  <a:lnTo>
                    <a:pt x="545" y="457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41"/>
            <p:cNvSpPr>
              <a:spLocks/>
            </p:cNvSpPr>
            <p:nvPr/>
          </p:nvSpPr>
          <p:spPr bwMode="auto">
            <a:xfrm>
              <a:off x="1380806" y="4084630"/>
              <a:ext cx="223695" cy="255856"/>
            </a:xfrm>
            <a:custGeom>
              <a:avLst/>
              <a:gdLst>
                <a:gd name="T0" fmla="*/ 281 w 369"/>
                <a:gd name="T1" fmla="*/ 18 h 422"/>
                <a:gd name="T2" fmla="*/ 281 w 369"/>
                <a:gd name="T3" fmla="*/ 18 h 422"/>
                <a:gd name="T4" fmla="*/ 281 w 369"/>
                <a:gd name="T5" fmla="*/ 70 h 422"/>
                <a:gd name="T6" fmla="*/ 299 w 369"/>
                <a:gd name="T7" fmla="*/ 123 h 422"/>
                <a:gd name="T8" fmla="*/ 299 w 369"/>
                <a:gd name="T9" fmla="*/ 123 h 422"/>
                <a:gd name="T10" fmla="*/ 334 w 369"/>
                <a:gd name="T11" fmla="*/ 176 h 422"/>
                <a:gd name="T12" fmla="*/ 352 w 369"/>
                <a:gd name="T13" fmla="*/ 193 h 422"/>
                <a:gd name="T14" fmla="*/ 352 w 369"/>
                <a:gd name="T15" fmla="*/ 211 h 422"/>
                <a:gd name="T16" fmla="*/ 352 w 369"/>
                <a:gd name="T17" fmla="*/ 211 h 422"/>
                <a:gd name="T18" fmla="*/ 352 w 369"/>
                <a:gd name="T19" fmla="*/ 246 h 422"/>
                <a:gd name="T20" fmla="*/ 352 w 369"/>
                <a:gd name="T21" fmla="*/ 246 h 422"/>
                <a:gd name="T22" fmla="*/ 369 w 369"/>
                <a:gd name="T23" fmla="*/ 263 h 422"/>
                <a:gd name="T24" fmla="*/ 369 w 369"/>
                <a:gd name="T25" fmla="*/ 263 h 422"/>
                <a:gd name="T26" fmla="*/ 317 w 369"/>
                <a:gd name="T27" fmla="*/ 316 h 422"/>
                <a:gd name="T28" fmla="*/ 299 w 369"/>
                <a:gd name="T29" fmla="*/ 369 h 422"/>
                <a:gd name="T30" fmla="*/ 299 w 369"/>
                <a:gd name="T31" fmla="*/ 369 h 422"/>
                <a:gd name="T32" fmla="*/ 281 w 369"/>
                <a:gd name="T33" fmla="*/ 386 h 422"/>
                <a:gd name="T34" fmla="*/ 246 w 369"/>
                <a:gd name="T35" fmla="*/ 404 h 422"/>
                <a:gd name="T36" fmla="*/ 229 w 369"/>
                <a:gd name="T37" fmla="*/ 404 h 422"/>
                <a:gd name="T38" fmla="*/ 211 w 369"/>
                <a:gd name="T39" fmla="*/ 422 h 422"/>
                <a:gd name="T40" fmla="*/ 211 w 369"/>
                <a:gd name="T41" fmla="*/ 422 h 422"/>
                <a:gd name="T42" fmla="*/ 194 w 369"/>
                <a:gd name="T43" fmla="*/ 422 h 422"/>
                <a:gd name="T44" fmla="*/ 194 w 369"/>
                <a:gd name="T45" fmla="*/ 422 h 422"/>
                <a:gd name="T46" fmla="*/ 194 w 369"/>
                <a:gd name="T47" fmla="*/ 422 h 422"/>
                <a:gd name="T48" fmla="*/ 176 w 369"/>
                <a:gd name="T49" fmla="*/ 386 h 422"/>
                <a:gd name="T50" fmla="*/ 159 w 369"/>
                <a:gd name="T51" fmla="*/ 334 h 422"/>
                <a:gd name="T52" fmla="*/ 141 w 369"/>
                <a:gd name="T53" fmla="*/ 299 h 422"/>
                <a:gd name="T54" fmla="*/ 141 w 369"/>
                <a:gd name="T55" fmla="*/ 246 h 422"/>
                <a:gd name="T56" fmla="*/ 141 w 369"/>
                <a:gd name="T57" fmla="*/ 246 h 422"/>
                <a:gd name="T58" fmla="*/ 106 w 369"/>
                <a:gd name="T59" fmla="*/ 228 h 422"/>
                <a:gd name="T60" fmla="*/ 71 w 369"/>
                <a:gd name="T61" fmla="*/ 211 h 422"/>
                <a:gd name="T62" fmla="*/ 71 w 369"/>
                <a:gd name="T63" fmla="*/ 211 h 422"/>
                <a:gd name="T64" fmla="*/ 53 w 369"/>
                <a:gd name="T65" fmla="*/ 141 h 422"/>
                <a:gd name="T66" fmla="*/ 36 w 369"/>
                <a:gd name="T67" fmla="*/ 123 h 422"/>
                <a:gd name="T68" fmla="*/ 0 w 369"/>
                <a:gd name="T69" fmla="*/ 123 h 422"/>
                <a:gd name="T70" fmla="*/ 0 w 369"/>
                <a:gd name="T71" fmla="*/ 123 h 422"/>
                <a:gd name="T72" fmla="*/ 53 w 369"/>
                <a:gd name="T73" fmla="*/ 88 h 422"/>
                <a:gd name="T74" fmla="*/ 71 w 369"/>
                <a:gd name="T75" fmla="*/ 70 h 422"/>
                <a:gd name="T76" fmla="*/ 71 w 369"/>
                <a:gd name="T77" fmla="*/ 35 h 422"/>
                <a:gd name="T78" fmla="*/ 71 w 369"/>
                <a:gd name="T79" fmla="*/ 35 h 422"/>
                <a:gd name="T80" fmla="*/ 123 w 369"/>
                <a:gd name="T81" fmla="*/ 35 h 422"/>
                <a:gd name="T82" fmla="*/ 123 w 369"/>
                <a:gd name="T83" fmla="*/ 35 h 422"/>
                <a:gd name="T84" fmla="*/ 141 w 369"/>
                <a:gd name="T85" fmla="*/ 18 h 422"/>
                <a:gd name="T86" fmla="*/ 159 w 369"/>
                <a:gd name="T87" fmla="*/ 0 h 422"/>
                <a:gd name="T88" fmla="*/ 159 w 369"/>
                <a:gd name="T89" fmla="*/ 0 h 422"/>
                <a:gd name="T90" fmla="*/ 194 w 369"/>
                <a:gd name="T91" fmla="*/ 18 h 422"/>
                <a:gd name="T92" fmla="*/ 246 w 369"/>
                <a:gd name="T93" fmla="*/ 18 h 422"/>
                <a:gd name="T94" fmla="*/ 246 w 369"/>
                <a:gd name="T95" fmla="*/ 18 h 422"/>
                <a:gd name="T96" fmla="*/ 281 w 369"/>
                <a:gd name="T97" fmla="*/ 18 h 422"/>
                <a:gd name="T98" fmla="*/ 281 w 369"/>
                <a:gd name="T99" fmla="*/ 18 h 422"/>
                <a:gd name="T100" fmla="*/ 281 w 369"/>
                <a:gd name="T101" fmla="*/ 18 h 422"/>
                <a:gd name="T102" fmla="*/ 281 w 369"/>
                <a:gd name="T103" fmla="*/ 18 h 42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69"/>
                <a:gd name="T157" fmla="*/ 0 h 422"/>
                <a:gd name="T158" fmla="*/ 369 w 369"/>
                <a:gd name="T159" fmla="*/ 422 h 42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69" h="422">
                  <a:moveTo>
                    <a:pt x="281" y="18"/>
                  </a:moveTo>
                  <a:lnTo>
                    <a:pt x="281" y="18"/>
                  </a:lnTo>
                  <a:lnTo>
                    <a:pt x="281" y="70"/>
                  </a:lnTo>
                  <a:lnTo>
                    <a:pt x="299" y="123"/>
                  </a:lnTo>
                  <a:lnTo>
                    <a:pt x="334" y="176"/>
                  </a:lnTo>
                  <a:lnTo>
                    <a:pt x="352" y="193"/>
                  </a:lnTo>
                  <a:lnTo>
                    <a:pt x="352" y="211"/>
                  </a:lnTo>
                  <a:lnTo>
                    <a:pt x="352" y="246"/>
                  </a:lnTo>
                  <a:lnTo>
                    <a:pt x="369" y="263"/>
                  </a:lnTo>
                  <a:lnTo>
                    <a:pt x="317" y="316"/>
                  </a:lnTo>
                  <a:lnTo>
                    <a:pt x="299" y="369"/>
                  </a:lnTo>
                  <a:lnTo>
                    <a:pt x="281" y="386"/>
                  </a:lnTo>
                  <a:lnTo>
                    <a:pt x="246" y="404"/>
                  </a:lnTo>
                  <a:lnTo>
                    <a:pt x="229" y="404"/>
                  </a:lnTo>
                  <a:lnTo>
                    <a:pt x="211" y="422"/>
                  </a:lnTo>
                  <a:lnTo>
                    <a:pt x="194" y="422"/>
                  </a:lnTo>
                  <a:lnTo>
                    <a:pt x="176" y="386"/>
                  </a:lnTo>
                  <a:lnTo>
                    <a:pt x="159" y="334"/>
                  </a:lnTo>
                  <a:lnTo>
                    <a:pt x="141" y="299"/>
                  </a:lnTo>
                  <a:lnTo>
                    <a:pt x="141" y="246"/>
                  </a:lnTo>
                  <a:lnTo>
                    <a:pt x="106" y="228"/>
                  </a:lnTo>
                  <a:lnTo>
                    <a:pt x="71" y="211"/>
                  </a:lnTo>
                  <a:lnTo>
                    <a:pt x="53" y="141"/>
                  </a:lnTo>
                  <a:lnTo>
                    <a:pt x="36" y="123"/>
                  </a:lnTo>
                  <a:lnTo>
                    <a:pt x="0" y="123"/>
                  </a:lnTo>
                  <a:lnTo>
                    <a:pt x="53" y="88"/>
                  </a:lnTo>
                  <a:lnTo>
                    <a:pt x="71" y="70"/>
                  </a:lnTo>
                  <a:lnTo>
                    <a:pt x="71" y="35"/>
                  </a:lnTo>
                  <a:lnTo>
                    <a:pt x="123" y="35"/>
                  </a:lnTo>
                  <a:lnTo>
                    <a:pt x="141" y="18"/>
                  </a:lnTo>
                  <a:lnTo>
                    <a:pt x="159" y="0"/>
                  </a:lnTo>
                  <a:lnTo>
                    <a:pt x="194" y="18"/>
                  </a:lnTo>
                  <a:lnTo>
                    <a:pt x="246" y="18"/>
                  </a:lnTo>
                  <a:lnTo>
                    <a:pt x="281" y="18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42"/>
            <p:cNvSpPr>
              <a:spLocks/>
            </p:cNvSpPr>
            <p:nvPr/>
          </p:nvSpPr>
          <p:spPr bwMode="auto">
            <a:xfrm>
              <a:off x="1189240" y="3893041"/>
              <a:ext cx="287955" cy="287383"/>
            </a:xfrm>
            <a:custGeom>
              <a:avLst/>
              <a:gdLst>
                <a:gd name="T0" fmla="*/ 264 w 475"/>
                <a:gd name="T1" fmla="*/ 70 h 474"/>
                <a:gd name="T2" fmla="*/ 246 w 475"/>
                <a:gd name="T3" fmla="*/ 105 h 474"/>
                <a:gd name="T4" fmla="*/ 193 w 475"/>
                <a:gd name="T5" fmla="*/ 88 h 474"/>
                <a:gd name="T6" fmla="*/ 141 w 475"/>
                <a:gd name="T7" fmla="*/ 17 h 474"/>
                <a:gd name="T8" fmla="*/ 106 w 475"/>
                <a:gd name="T9" fmla="*/ 0 h 474"/>
                <a:gd name="T10" fmla="*/ 88 w 475"/>
                <a:gd name="T11" fmla="*/ 35 h 474"/>
                <a:gd name="T12" fmla="*/ 88 w 475"/>
                <a:gd name="T13" fmla="*/ 53 h 474"/>
                <a:gd name="T14" fmla="*/ 53 w 475"/>
                <a:gd name="T15" fmla="*/ 105 h 474"/>
                <a:gd name="T16" fmla="*/ 0 w 475"/>
                <a:gd name="T17" fmla="*/ 193 h 474"/>
                <a:gd name="T18" fmla="*/ 0 w 475"/>
                <a:gd name="T19" fmla="*/ 228 h 474"/>
                <a:gd name="T20" fmla="*/ 35 w 475"/>
                <a:gd name="T21" fmla="*/ 228 h 474"/>
                <a:gd name="T22" fmla="*/ 70 w 475"/>
                <a:gd name="T23" fmla="*/ 211 h 474"/>
                <a:gd name="T24" fmla="*/ 123 w 475"/>
                <a:gd name="T25" fmla="*/ 298 h 474"/>
                <a:gd name="T26" fmla="*/ 176 w 475"/>
                <a:gd name="T27" fmla="*/ 316 h 474"/>
                <a:gd name="T28" fmla="*/ 211 w 475"/>
                <a:gd name="T29" fmla="*/ 351 h 474"/>
                <a:gd name="T30" fmla="*/ 211 w 475"/>
                <a:gd name="T31" fmla="*/ 386 h 474"/>
                <a:gd name="T32" fmla="*/ 193 w 475"/>
                <a:gd name="T33" fmla="*/ 421 h 474"/>
                <a:gd name="T34" fmla="*/ 193 w 475"/>
                <a:gd name="T35" fmla="*/ 474 h 474"/>
                <a:gd name="T36" fmla="*/ 229 w 475"/>
                <a:gd name="T37" fmla="*/ 439 h 474"/>
                <a:gd name="T38" fmla="*/ 246 w 475"/>
                <a:gd name="T39" fmla="*/ 439 h 474"/>
                <a:gd name="T40" fmla="*/ 316 w 475"/>
                <a:gd name="T41" fmla="*/ 439 h 474"/>
                <a:gd name="T42" fmla="*/ 352 w 475"/>
                <a:gd name="T43" fmla="*/ 404 h 474"/>
                <a:gd name="T44" fmla="*/ 387 w 475"/>
                <a:gd name="T45" fmla="*/ 351 h 474"/>
                <a:gd name="T46" fmla="*/ 439 w 475"/>
                <a:gd name="T47" fmla="*/ 351 h 474"/>
                <a:gd name="T48" fmla="*/ 457 w 475"/>
                <a:gd name="T49" fmla="*/ 334 h 474"/>
                <a:gd name="T50" fmla="*/ 475 w 475"/>
                <a:gd name="T51" fmla="*/ 316 h 474"/>
                <a:gd name="T52" fmla="*/ 457 w 475"/>
                <a:gd name="T53" fmla="*/ 246 h 474"/>
                <a:gd name="T54" fmla="*/ 457 w 475"/>
                <a:gd name="T55" fmla="*/ 211 h 474"/>
                <a:gd name="T56" fmla="*/ 475 w 475"/>
                <a:gd name="T57" fmla="*/ 176 h 474"/>
                <a:gd name="T58" fmla="*/ 457 w 475"/>
                <a:gd name="T59" fmla="*/ 140 h 474"/>
                <a:gd name="T60" fmla="*/ 439 w 475"/>
                <a:gd name="T61" fmla="*/ 123 h 474"/>
                <a:gd name="T62" fmla="*/ 439 w 475"/>
                <a:gd name="T63" fmla="*/ 88 h 474"/>
                <a:gd name="T64" fmla="*/ 439 w 475"/>
                <a:gd name="T65" fmla="*/ 53 h 474"/>
                <a:gd name="T66" fmla="*/ 387 w 475"/>
                <a:gd name="T67" fmla="*/ 70 h 474"/>
                <a:gd name="T68" fmla="*/ 316 w 475"/>
                <a:gd name="T69" fmla="*/ 88 h 474"/>
                <a:gd name="T70" fmla="*/ 281 w 475"/>
                <a:gd name="T71" fmla="*/ 70 h 474"/>
                <a:gd name="T72" fmla="*/ 264 w 475"/>
                <a:gd name="T73" fmla="*/ 53 h 474"/>
                <a:gd name="T74" fmla="*/ 264 w 475"/>
                <a:gd name="T75" fmla="*/ 70 h 47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75"/>
                <a:gd name="T115" fmla="*/ 0 h 474"/>
                <a:gd name="T116" fmla="*/ 475 w 475"/>
                <a:gd name="T117" fmla="*/ 474 h 47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75" h="474">
                  <a:moveTo>
                    <a:pt x="264" y="70"/>
                  </a:moveTo>
                  <a:lnTo>
                    <a:pt x="264" y="70"/>
                  </a:lnTo>
                  <a:lnTo>
                    <a:pt x="246" y="88"/>
                  </a:lnTo>
                  <a:lnTo>
                    <a:pt x="246" y="105"/>
                  </a:lnTo>
                  <a:lnTo>
                    <a:pt x="193" y="88"/>
                  </a:lnTo>
                  <a:lnTo>
                    <a:pt x="176" y="53"/>
                  </a:lnTo>
                  <a:lnTo>
                    <a:pt x="141" y="17"/>
                  </a:lnTo>
                  <a:lnTo>
                    <a:pt x="106" y="0"/>
                  </a:lnTo>
                  <a:lnTo>
                    <a:pt x="106" y="17"/>
                  </a:lnTo>
                  <a:lnTo>
                    <a:pt x="88" y="35"/>
                  </a:lnTo>
                  <a:lnTo>
                    <a:pt x="88" y="53"/>
                  </a:lnTo>
                  <a:lnTo>
                    <a:pt x="88" y="88"/>
                  </a:lnTo>
                  <a:lnTo>
                    <a:pt x="53" y="105"/>
                  </a:lnTo>
                  <a:lnTo>
                    <a:pt x="18" y="140"/>
                  </a:lnTo>
                  <a:lnTo>
                    <a:pt x="0" y="193"/>
                  </a:lnTo>
                  <a:lnTo>
                    <a:pt x="0" y="228"/>
                  </a:lnTo>
                  <a:lnTo>
                    <a:pt x="35" y="228"/>
                  </a:lnTo>
                  <a:lnTo>
                    <a:pt x="53" y="228"/>
                  </a:lnTo>
                  <a:lnTo>
                    <a:pt x="70" y="211"/>
                  </a:lnTo>
                  <a:lnTo>
                    <a:pt x="123" y="298"/>
                  </a:lnTo>
                  <a:lnTo>
                    <a:pt x="176" y="316"/>
                  </a:lnTo>
                  <a:lnTo>
                    <a:pt x="211" y="334"/>
                  </a:lnTo>
                  <a:lnTo>
                    <a:pt x="211" y="351"/>
                  </a:lnTo>
                  <a:lnTo>
                    <a:pt x="211" y="386"/>
                  </a:lnTo>
                  <a:lnTo>
                    <a:pt x="193" y="421"/>
                  </a:lnTo>
                  <a:lnTo>
                    <a:pt x="193" y="474"/>
                  </a:lnTo>
                  <a:lnTo>
                    <a:pt x="229" y="439"/>
                  </a:lnTo>
                  <a:lnTo>
                    <a:pt x="246" y="439"/>
                  </a:lnTo>
                  <a:lnTo>
                    <a:pt x="316" y="439"/>
                  </a:lnTo>
                  <a:lnTo>
                    <a:pt x="352" y="404"/>
                  </a:lnTo>
                  <a:lnTo>
                    <a:pt x="387" y="386"/>
                  </a:lnTo>
                  <a:lnTo>
                    <a:pt x="387" y="351"/>
                  </a:lnTo>
                  <a:lnTo>
                    <a:pt x="439" y="351"/>
                  </a:lnTo>
                  <a:lnTo>
                    <a:pt x="457" y="334"/>
                  </a:lnTo>
                  <a:lnTo>
                    <a:pt x="475" y="316"/>
                  </a:lnTo>
                  <a:lnTo>
                    <a:pt x="457" y="281"/>
                  </a:lnTo>
                  <a:lnTo>
                    <a:pt x="457" y="246"/>
                  </a:lnTo>
                  <a:lnTo>
                    <a:pt x="457" y="211"/>
                  </a:lnTo>
                  <a:lnTo>
                    <a:pt x="475" y="176"/>
                  </a:lnTo>
                  <a:lnTo>
                    <a:pt x="475" y="158"/>
                  </a:lnTo>
                  <a:lnTo>
                    <a:pt x="457" y="140"/>
                  </a:lnTo>
                  <a:lnTo>
                    <a:pt x="439" y="140"/>
                  </a:lnTo>
                  <a:lnTo>
                    <a:pt x="439" y="123"/>
                  </a:lnTo>
                  <a:lnTo>
                    <a:pt x="439" y="88"/>
                  </a:lnTo>
                  <a:lnTo>
                    <a:pt x="457" y="70"/>
                  </a:lnTo>
                  <a:lnTo>
                    <a:pt x="439" y="53"/>
                  </a:lnTo>
                  <a:lnTo>
                    <a:pt x="387" y="70"/>
                  </a:lnTo>
                  <a:lnTo>
                    <a:pt x="316" y="88"/>
                  </a:lnTo>
                  <a:lnTo>
                    <a:pt x="281" y="88"/>
                  </a:lnTo>
                  <a:lnTo>
                    <a:pt x="281" y="70"/>
                  </a:lnTo>
                  <a:lnTo>
                    <a:pt x="264" y="53"/>
                  </a:lnTo>
                  <a:lnTo>
                    <a:pt x="264" y="70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43"/>
            <p:cNvSpPr>
              <a:spLocks/>
            </p:cNvSpPr>
            <p:nvPr/>
          </p:nvSpPr>
          <p:spPr bwMode="auto">
            <a:xfrm>
              <a:off x="1508718" y="4244085"/>
              <a:ext cx="244913" cy="234636"/>
            </a:xfrm>
            <a:custGeom>
              <a:avLst/>
              <a:gdLst>
                <a:gd name="T0" fmla="*/ 158 w 404"/>
                <a:gd name="T1" fmla="*/ 18 h 387"/>
                <a:gd name="T2" fmla="*/ 158 w 404"/>
                <a:gd name="T3" fmla="*/ 18 h 387"/>
                <a:gd name="T4" fmla="*/ 176 w 404"/>
                <a:gd name="T5" fmla="*/ 36 h 387"/>
                <a:gd name="T6" fmla="*/ 193 w 404"/>
                <a:gd name="T7" fmla="*/ 71 h 387"/>
                <a:gd name="T8" fmla="*/ 193 w 404"/>
                <a:gd name="T9" fmla="*/ 71 h 387"/>
                <a:gd name="T10" fmla="*/ 229 w 404"/>
                <a:gd name="T11" fmla="*/ 71 h 387"/>
                <a:gd name="T12" fmla="*/ 229 w 404"/>
                <a:gd name="T13" fmla="*/ 71 h 387"/>
                <a:gd name="T14" fmla="*/ 229 w 404"/>
                <a:gd name="T15" fmla="*/ 71 h 387"/>
                <a:gd name="T16" fmla="*/ 246 w 404"/>
                <a:gd name="T17" fmla="*/ 36 h 387"/>
                <a:gd name="T18" fmla="*/ 264 w 404"/>
                <a:gd name="T19" fmla="*/ 18 h 387"/>
                <a:gd name="T20" fmla="*/ 316 w 404"/>
                <a:gd name="T21" fmla="*/ 18 h 387"/>
                <a:gd name="T22" fmla="*/ 316 w 404"/>
                <a:gd name="T23" fmla="*/ 18 h 387"/>
                <a:gd name="T24" fmla="*/ 316 w 404"/>
                <a:gd name="T25" fmla="*/ 53 h 387"/>
                <a:gd name="T26" fmla="*/ 316 w 404"/>
                <a:gd name="T27" fmla="*/ 53 h 387"/>
                <a:gd name="T28" fmla="*/ 316 w 404"/>
                <a:gd name="T29" fmla="*/ 71 h 387"/>
                <a:gd name="T30" fmla="*/ 334 w 404"/>
                <a:gd name="T31" fmla="*/ 88 h 387"/>
                <a:gd name="T32" fmla="*/ 334 w 404"/>
                <a:gd name="T33" fmla="*/ 88 h 387"/>
                <a:gd name="T34" fmla="*/ 369 w 404"/>
                <a:gd name="T35" fmla="*/ 88 h 387"/>
                <a:gd name="T36" fmla="*/ 369 w 404"/>
                <a:gd name="T37" fmla="*/ 88 h 387"/>
                <a:gd name="T38" fmla="*/ 387 w 404"/>
                <a:gd name="T39" fmla="*/ 88 h 387"/>
                <a:gd name="T40" fmla="*/ 387 w 404"/>
                <a:gd name="T41" fmla="*/ 106 h 387"/>
                <a:gd name="T42" fmla="*/ 404 w 404"/>
                <a:gd name="T43" fmla="*/ 159 h 387"/>
                <a:gd name="T44" fmla="*/ 404 w 404"/>
                <a:gd name="T45" fmla="*/ 159 h 387"/>
                <a:gd name="T46" fmla="*/ 334 w 404"/>
                <a:gd name="T47" fmla="*/ 194 h 387"/>
                <a:gd name="T48" fmla="*/ 299 w 404"/>
                <a:gd name="T49" fmla="*/ 229 h 387"/>
                <a:gd name="T50" fmla="*/ 299 w 404"/>
                <a:gd name="T51" fmla="*/ 264 h 387"/>
                <a:gd name="T52" fmla="*/ 299 w 404"/>
                <a:gd name="T53" fmla="*/ 264 h 387"/>
                <a:gd name="T54" fmla="*/ 299 w 404"/>
                <a:gd name="T55" fmla="*/ 334 h 387"/>
                <a:gd name="T56" fmla="*/ 299 w 404"/>
                <a:gd name="T57" fmla="*/ 334 h 387"/>
                <a:gd name="T58" fmla="*/ 299 w 404"/>
                <a:gd name="T59" fmla="*/ 369 h 387"/>
                <a:gd name="T60" fmla="*/ 281 w 404"/>
                <a:gd name="T61" fmla="*/ 387 h 387"/>
                <a:gd name="T62" fmla="*/ 246 w 404"/>
                <a:gd name="T63" fmla="*/ 387 h 387"/>
                <a:gd name="T64" fmla="*/ 246 w 404"/>
                <a:gd name="T65" fmla="*/ 387 h 387"/>
                <a:gd name="T66" fmla="*/ 193 w 404"/>
                <a:gd name="T67" fmla="*/ 369 h 387"/>
                <a:gd name="T68" fmla="*/ 158 w 404"/>
                <a:gd name="T69" fmla="*/ 334 h 387"/>
                <a:gd name="T70" fmla="*/ 158 w 404"/>
                <a:gd name="T71" fmla="*/ 334 h 387"/>
                <a:gd name="T72" fmla="*/ 158 w 404"/>
                <a:gd name="T73" fmla="*/ 299 h 387"/>
                <a:gd name="T74" fmla="*/ 158 w 404"/>
                <a:gd name="T75" fmla="*/ 282 h 387"/>
                <a:gd name="T76" fmla="*/ 141 w 404"/>
                <a:gd name="T77" fmla="*/ 264 h 387"/>
                <a:gd name="T78" fmla="*/ 141 w 404"/>
                <a:gd name="T79" fmla="*/ 264 h 387"/>
                <a:gd name="T80" fmla="*/ 106 w 404"/>
                <a:gd name="T81" fmla="*/ 246 h 387"/>
                <a:gd name="T82" fmla="*/ 70 w 404"/>
                <a:gd name="T83" fmla="*/ 211 h 387"/>
                <a:gd name="T84" fmla="*/ 70 w 404"/>
                <a:gd name="T85" fmla="*/ 211 h 387"/>
                <a:gd name="T86" fmla="*/ 35 w 404"/>
                <a:gd name="T87" fmla="*/ 211 h 387"/>
                <a:gd name="T88" fmla="*/ 0 w 404"/>
                <a:gd name="T89" fmla="*/ 194 h 387"/>
                <a:gd name="T90" fmla="*/ 0 w 404"/>
                <a:gd name="T91" fmla="*/ 194 h 387"/>
                <a:gd name="T92" fmla="*/ 0 w 404"/>
                <a:gd name="T93" fmla="*/ 159 h 387"/>
                <a:gd name="T94" fmla="*/ 0 w 404"/>
                <a:gd name="T95" fmla="*/ 159 h 387"/>
                <a:gd name="T96" fmla="*/ 18 w 404"/>
                <a:gd name="T97" fmla="*/ 141 h 387"/>
                <a:gd name="T98" fmla="*/ 35 w 404"/>
                <a:gd name="T99" fmla="*/ 141 h 387"/>
                <a:gd name="T100" fmla="*/ 70 w 404"/>
                <a:gd name="T101" fmla="*/ 123 h 387"/>
                <a:gd name="T102" fmla="*/ 88 w 404"/>
                <a:gd name="T103" fmla="*/ 106 h 387"/>
                <a:gd name="T104" fmla="*/ 88 w 404"/>
                <a:gd name="T105" fmla="*/ 106 h 387"/>
                <a:gd name="T106" fmla="*/ 106 w 404"/>
                <a:gd name="T107" fmla="*/ 53 h 387"/>
                <a:gd name="T108" fmla="*/ 141 w 404"/>
                <a:gd name="T109" fmla="*/ 0 h 387"/>
                <a:gd name="T110" fmla="*/ 141 w 404"/>
                <a:gd name="T111" fmla="*/ 0 h 387"/>
                <a:gd name="T112" fmla="*/ 158 w 404"/>
                <a:gd name="T113" fmla="*/ 18 h 387"/>
                <a:gd name="T114" fmla="*/ 158 w 404"/>
                <a:gd name="T115" fmla="*/ 18 h 38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404"/>
                <a:gd name="T175" fmla="*/ 0 h 387"/>
                <a:gd name="T176" fmla="*/ 404 w 404"/>
                <a:gd name="T177" fmla="*/ 387 h 38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404" h="387">
                  <a:moveTo>
                    <a:pt x="158" y="18"/>
                  </a:moveTo>
                  <a:lnTo>
                    <a:pt x="158" y="18"/>
                  </a:lnTo>
                  <a:lnTo>
                    <a:pt x="176" y="36"/>
                  </a:lnTo>
                  <a:lnTo>
                    <a:pt x="193" y="71"/>
                  </a:lnTo>
                  <a:lnTo>
                    <a:pt x="229" y="71"/>
                  </a:lnTo>
                  <a:lnTo>
                    <a:pt x="246" y="36"/>
                  </a:lnTo>
                  <a:lnTo>
                    <a:pt x="264" y="18"/>
                  </a:lnTo>
                  <a:lnTo>
                    <a:pt x="316" y="18"/>
                  </a:lnTo>
                  <a:lnTo>
                    <a:pt x="316" y="53"/>
                  </a:lnTo>
                  <a:lnTo>
                    <a:pt x="316" y="71"/>
                  </a:lnTo>
                  <a:lnTo>
                    <a:pt x="334" y="88"/>
                  </a:lnTo>
                  <a:lnTo>
                    <a:pt x="369" y="88"/>
                  </a:lnTo>
                  <a:lnTo>
                    <a:pt x="387" y="88"/>
                  </a:lnTo>
                  <a:lnTo>
                    <a:pt x="387" y="106"/>
                  </a:lnTo>
                  <a:lnTo>
                    <a:pt x="404" y="159"/>
                  </a:lnTo>
                  <a:lnTo>
                    <a:pt x="334" y="194"/>
                  </a:lnTo>
                  <a:lnTo>
                    <a:pt x="299" y="229"/>
                  </a:lnTo>
                  <a:lnTo>
                    <a:pt x="299" y="264"/>
                  </a:lnTo>
                  <a:lnTo>
                    <a:pt x="299" y="334"/>
                  </a:lnTo>
                  <a:lnTo>
                    <a:pt x="299" y="369"/>
                  </a:lnTo>
                  <a:lnTo>
                    <a:pt x="281" y="387"/>
                  </a:lnTo>
                  <a:lnTo>
                    <a:pt x="246" y="387"/>
                  </a:lnTo>
                  <a:lnTo>
                    <a:pt x="193" y="369"/>
                  </a:lnTo>
                  <a:lnTo>
                    <a:pt x="158" y="334"/>
                  </a:lnTo>
                  <a:lnTo>
                    <a:pt x="158" y="299"/>
                  </a:lnTo>
                  <a:lnTo>
                    <a:pt x="158" y="282"/>
                  </a:lnTo>
                  <a:lnTo>
                    <a:pt x="141" y="264"/>
                  </a:lnTo>
                  <a:lnTo>
                    <a:pt x="106" y="246"/>
                  </a:lnTo>
                  <a:lnTo>
                    <a:pt x="70" y="211"/>
                  </a:lnTo>
                  <a:lnTo>
                    <a:pt x="35" y="211"/>
                  </a:lnTo>
                  <a:lnTo>
                    <a:pt x="0" y="194"/>
                  </a:lnTo>
                  <a:lnTo>
                    <a:pt x="0" y="159"/>
                  </a:lnTo>
                  <a:lnTo>
                    <a:pt x="18" y="141"/>
                  </a:lnTo>
                  <a:lnTo>
                    <a:pt x="35" y="141"/>
                  </a:lnTo>
                  <a:lnTo>
                    <a:pt x="70" y="123"/>
                  </a:lnTo>
                  <a:lnTo>
                    <a:pt x="88" y="106"/>
                  </a:lnTo>
                  <a:lnTo>
                    <a:pt x="106" y="53"/>
                  </a:lnTo>
                  <a:lnTo>
                    <a:pt x="141" y="0"/>
                  </a:lnTo>
                  <a:lnTo>
                    <a:pt x="158" y="18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44"/>
            <p:cNvSpPr>
              <a:spLocks/>
            </p:cNvSpPr>
            <p:nvPr/>
          </p:nvSpPr>
          <p:spPr bwMode="auto">
            <a:xfrm>
              <a:off x="2190717" y="4670310"/>
              <a:ext cx="351002" cy="308604"/>
            </a:xfrm>
            <a:custGeom>
              <a:avLst/>
              <a:gdLst>
                <a:gd name="T0" fmla="*/ 158 w 579"/>
                <a:gd name="T1" fmla="*/ 509 h 509"/>
                <a:gd name="T2" fmla="*/ 158 w 579"/>
                <a:gd name="T3" fmla="*/ 509 h 509"/>
                <a:gd name="T4" fmla="*/ 210 w 579"/>
                <a:gd name="T5" fmla="*/ 492 h 509"/>
                <a:gd name="T6" fmla="*/ 263 w 579"/>
                <a:gd name="T7" fmla="*/ 474 h 509"/>
                <a:gd name="T8" fmla="*/ 263 w 579"/>
                <a:gd name="T9" fmla="*/ 474 h 509"/>
                <a:gd name="T10" fmla="*/ 316 w 579"/>
                <a:gd name="T11" fmla="*/ 422 h 509"/>
                <a:gd name="T12" fmla="*/ 351 w 579"/>
                <a:gd name="T13" fmla="*/ 404 h 509"/>
                <a:gd name="T14" fmla="*/ 386 w 579"/>
                <a:gd name="T15" fmla="*/ 386 h 509"/>
                <a:gd name="T16" fmla="*/ 386 w 579"/>
                <a:gd name="T17" fmla="*/ 386 h 509"/>
                <a:gd name="T18" fmla="*/ 421 w 579"/>
                <a:gd name="T19" fmla="*/ 386 h 509"/>
                <a:gd name="T20" fmla="*/ 439 w 579"/>
                <a:gd name="T21" fmla="*/ 351 h 509"/>
                <a:gd name="T22" fmla="*/ 474 w 579"/>
                <a:gd name="T23" fmla="*/ 299 h 509"/>
                <a:gd name="T24" fmla="*/ 474 w 579"/>
                <a:gd name="T25" fmla="*/ 299 h 509"/>
                <a:gd name="T26" fmla="*/ 509 w 579"/>
                <a:gd name="T27" fmla="*/ 264 h 509"/>
                <a:gd name="T28" fmla="*/ 544 w 579"/>
                <a:gd name="T29" fmla="*/ 246 h 509"/>
                <a:gd name="T30" fmla="*/ 544 w 579"/>
                <a:gd name="T31" fmla="*/ 246 h 509"/>
                <a:gd name="T32" fmla="*/ 562 w 579"/>
                <a:gd name="T33" fmla="*/ 193 h 509"/>
                <a:gd name="T34" fmla="*/ 562 w 579"/>
                <a:gd name="T35" fmla="*/ 176 h 509"/>
                <a:gd name="T36" fmla="*/ 579 w 579"/>
                <a:gd name="T37" fmla="*/ 176 h 509"/>
                <a:gd name="T38" fmla="*/ 579 w 579"/>
                <a:gd name="T39" fmla="*/ 176 h 509"/>
                <a:gd name="T40" fmla="*/ 509 w 579"/>
                <a:gd name="T41" fmla="*/ 18 h 509"/>
                <a:gd name="T42" fmla="*/ 509 w 579"/>
                <a:gd name="T43" fmla="*/ 18 h 509"/>
                <a:gd name="T44" fmla="*/ 491 w 579"/>
                <a:gd name="T45" fmla="*/ 35 h 509"/>
                <a:gd name="T46" fmla="*/ 474 w 579"/>
                <a:gd name="T47" fmla="*/ 53 h 509"/>
                <a:gd name="T48" fmla="*/ 474 w 579"/>
                <a:gd name="T49" fmla="*/ 53 h 509"/>
                <a:gd name="T50" fmla="*/ 439 w 579"/>
                <a:gd name="T51" fmla="*/ 53 h 509"/>
                <a:gd name="T52" fmla="*/ 439 w 579"/>
                <a:gd name="T53" fmla="*/ 53 h 509"/>
                <a:gd name="T54" fmla="*/ 404 w 579"/>
                <a:gd name="T55" fmla="*/ 53 h 509"/>
                <a:gd name="T56" fmla="*/ 368 w 579"/>
                <a:gd name="T57" fmla="*/ 0 h 509"/>
                <a:gd name="T58" fmla="*/ 368 w 579"/>
                <a:gd name="T59" fmla="*/ 0 h 509"/>
                <a:gd name="T60" fmla="*/ 351 w 579"/>
                <a:gd name="T61" fmla="*/ 70 h 509"/>
                <a:gd name="T62" fmla="*/ 316 w 579"/>
                <a:gd name="T63" fmla="*/ 88 h 509"/>
                <a:gd name="T64" fmla="*/ 298 w 579"/>
                <a:gd name="T65" fmla="*/ 88 h 509"/>
                <a:gd name="T66" fmla="*/ 298 w 579"/>
                <a:gd name="T67" fmla="*/ 88 h 509"/>
                <a:gd name="T68" fmla="*/ 263 w 579"/>
                <a:gd name="T69" fmla="*/ 88 h 509"/>
                <a:gd name="T70" fmla="*/ 210 w 579"/>
                <a:gd name="T71" fmla="*/ 53 h 509"/>
                <a:gd name="T72" fmla="*/ 158 w 579"/>
                <a:gd name="T73" fmla="*/ 35 h 509"/>
                <a:gd name="T74" fmla="*/ 105 w 579"/>
                <a:gd name="T75" fmla="*/ 18 h 509"/>
                <a:gd name="T76" fmla="*/ 105 w 579"/>
                <a:gd name="T77" fmla="*/ 18 h 509"/>
                <a:gd name="T78" fmla="*/ 87 w 579"/>
                <a:gd name="T79" fmla="*/ 35 h 509"/>
                <a:gd name="T80" fmla="*/ 87 w 579"/>
                <a:gd name="T81" fmla="*/ 53 h 509"/>
                <a:gd name="T82" fmla="*/ 87 w 579"/>
                <a:gd name="T83" fmla="*/ 53 h 509"/>
                <a:gd name="T84" fmla="*/ 35 w 579"/>
                <a:gd name="T85" fmla="*/ 35 h 509"/>
                <a:gd name="T86" fmla="*/ 35 w 579"/>
                <a:gd name="T87" fmla="*/ 35 h 509"/>
                <a:gd name="T88" fmla="*/ 35 w 579"/>
                <a:gd name="T89" fmla="*/ 53 h 509"/>
                <a:gd name="T90" fmla="*/ 17 w 579"/>
                <a:gd name="T91" fmla="*/ 88 h 509"/>
                <a:gd name="T92" fmla="*/ 17 w 579"/>
                <a:gd name="T93" fmla="*/ 88 h 509"/>
                <a:gd name="T94" fmla="*/ 35 w 579"/>
                <a:gd name="T95" fmla="*/ 141 h 509"/>
                <a:gd name="T96" fmla="*/ 35 w 579"/>
                <a:gd name="T97" fmla="*/ 141 h 509"/>
                <a:gd name="T98" fmla="*/ 35 w 579"/>
                <a:gd name="T99" fmla="*/ 176 h 509"/>
                <a:gd name="T100" fmla="*/ 17 w 579"/>
                <a:gd name="T101" fmla="*/ 176 h 509"/>
                <a:gd name="T102" fmla="*/ 0 w 579"/>
                <a:gd name="T103" fmla="*/ 193 h 509"/>
                <a:gd name="T104" fmla="*/ 0 w 579"/>
                <a:gd name="T105" fmla="*/ 211 h 509"/>
                <a:gd name="T106" fmla="*/ 0 w 579"/>
                <a:gd name="T107" fmla="*/ 211 h 509"/>
                <a:gd name="T108" fmla="*/ 0 w 579"/>
                <a:gd name="T109" fmla="*/ 246 h 509"/>
                <a:gd name="T110" fmla="*/ 35 w 579"/>
                <a:gd name="T111" fmla="*/ 264 h 509"/>
                <a:gd name="T112" fmla="*/ 70 w 579"/>
                <a:gd name="T113" fmla="*/ 316 h 509"/>
                <a:gd name="T114" fmla="*/ 70 w 579"/>
                <a:gd name="T115" fmla="*/ 316 h 509"/>
                <a:gd name="T116" fmla="*/ 123 w 579"/>
                <a:gd name="T117" fmla="*/ 404 h 509"/>
                <a:gd name="T118" fmla="*/ 158 w 579"/>
                <a:gd name="T119" fmla="*/ 509 h 509"/>
                <a:gd name="T120" fmla="*/ 158 w 579"/>
                <a:gd name="T121" fmla="*/ 509 h 509"/>
                <a:gd name="T122" fmla="*/ 158 w 579"/>
                <a:gd name="T123" fmla="*/ 509 h 509"/>
                <a:gd name="T124" fmla="*/ 158 w 579"/>
                <a:gd name="T125" fmla="*/ 509 h 50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79"/>
                <a:gd name="T190" fmla="*/ 0 h 509"/>
                <a:gd name="T191" fmla="*/ 579 w 579"/>
                <a:gd name="T192" fmla="*/ 509 h 50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79" h="509">
                  <a:moveTo>
                    <a:pt x="158" y="509"/>
                  </a:moveTo>
                  <a:lnTo>
                    <a:pt x="158" y="509"/>
                  </a:lnTo>
                  <a:lnTo>
                    <a:pt x="210" y="492"/>
                  </a:lnTo>
                  <a:lnTo>
                    <a:pt x="263" y="474"/>
                  </a:lnTo>
                  <a:lnTo>
                    <a:pt x="316" y="422"/>
                  </a:lnTo>
                  <a:lnTo>
                    <a:pt x="351" y="404"/>
                  </a:lnTo>
                  <a:lnTo>
                    <a:pt x="386" y="386"/>
                  </a:lnTo>
                  <a:lnTo>
                    <a:pt x="421" y="386"/>
                  </a:lnTo>
                  <a:lnTo>
                    <a:pt x="439" y="351"/>
                  </a:lnTo>
                  <a:lnTo>
                    <a:pt x="474" y="299"/>
                  </a:lnTo>
                  <a:lnTo>
                    <a:pt x="509" y="264"/>
                  </a:lnTo>
                  <a:lnTo>
                    <a:pt x="544" y="246"/>
                  </a:lnTo>
                  <a:lnTo>
                    <a:pt x="562" y="193"/>
                  </a:lnTo>
                  <a:lnTo>
                    <a:pt x="562" y="176"/>
                  </a:lnTo>
                  <a:lnTo>
                    <a:pt x="579" y="176"/>
                  </a:lnTo>
                  <a:lnTo>
                    <a:pt x="509" y="18"/>
                  </a:lnTo>
                  <a:lnTo>
                    <a:pt x="491" y="35"/>
                  </a:lnTo>
                  <a:lnTo>
                    <a:pt x="474" y="53"/>
                  </a:lnTo>
                  <a:lnTo>
                    <a:pt x="439" y="53"/>
                  </a:lnTo>
                  <a:lnTo>
                    <a:pt x="404" y="53"/>
                  </a:lnTo>
                  <a:lnTo>
                    <a:pt x="368" y="0"/>
                  </a:lnTo>
                  <a:lnTo>
                    <a:pt x="351" y="70"/>
                  </a:lnTo>
                  <a:lnTo>
                    <a:pt x="316" y="88"/>
                  </a:lnTo>
                  <a:lnTo>
                    <a:pt x="298" y="88"/>
                  </a:lnTo>
                  <a:lnTo>
                    <a:pt x="263" y="88"/>
                  </a:lnTo>
                  <a:lnTo>
                    <a:pt x="210" y="53"/>
                  </a:lnTo>
                  <a:lnTo>
                    <a:pt x="158" y="35"/>
                  </a:lnTo>
                  <a:lnTo>
                    <a:pt x="105" y="18"/>
                  </a:lnTo>
                  <a:lnTo>
                    <a:pt x="87" y="35"/>
                  </a:lnTo>
                  <a:lnTo>
                    <a:pt x="87" y="53"/>
                  </a:lnTo>
                  <a:lnTo>
                    <a:pt x="35" y="35"/>
                  </a:lnTo>
                  <a:lnTo>
                    <a:pt x="35" y="53"/>
                  </a:lnTo>
                  <a:lnTo>
                    <a:pt x="17" y="88"/>
                  </a:lnTo>
                  <a:lnTo>
                    <a:pt x="35" y="141"/>
                  </a:lnTo>
                  <a:lnTo>
                    <a:pt x="35" y="176"/>
                  </a:lnTo>
                  <a:lnTo>
                    <a:pt x="17" y="176"/>
                  </a:lnTo>
                  <a:lnTo>
                    <a:pt x="0" y="193"/>
                  </a:lnTo>
                  <a:lnTo>
                    <a:pt x="0" y="211"/>
                  </a:lnTo>
                  <a:lnTo>
                    <a:pt x="0" y="246"/>
                  </a:lnTo>
                  <a:lnTo>
                    <a:pt x="35" y="264"/>
                  </a:lnTo>
                  <a:lnTo>
                    <a:pt x="70" y="316"/>
                  </a:lnTo>
                  <a:lnTo>
                    <a:pt x="123" y="404"/>
                  </a:lnTo>
                  <a:lnTo>
                    <a:pt x="158" y="509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2084022" y="4489028"/>
              <a:ext cx="329784" cy="287990"/>
            </a:xfrm>
            <a:custGeom>
              <a:avLst/>
              <a:gdLst>
                <a:gd name="T0" fmla="*/ 211 w 544"/>
                <a:gd name="T1" fmla="*/ 475 h 475"/>
                <a:gd name="T2" fmla="*/ 35 w 544"/>
                <a:gd name="T3" fmla="*/ 422 h 475"/>
                <a:gd name="T4" fmla="*/ 0 w 544"/>
                <a:gd name="T5" fmla="*/ 387 h 475"/>
                <a:gd name="T6" fmla="*/ 53 w 544"/>
                <a:gd name="T7" fmla="*/ 334 h 475"/>
                <a:gd name="T8" fmla="*/ 105 w 544"/>
                <a:gd name="T9" fmla="*/ 281 h 475"/>
                <a:gd name="T10" fmla="*/ 88 w 544"/>
                <a:gd name="T11" fmla="*/ 246 h 475"/>
                <a:gd name="T12" fmla="*/ 70 w 544"/>
                <a:gd name="T13" fmla="*/ 229 h 475"/>
                <a:gd name="T14" fmla="*/ 105 w 544"/>
                <a:gd name="T15" fmla="*/ 159 h 475"/>
                <a:gd name="T16" fmla="*/ 88 w 544"/>
                <a:gd name="T17" fmla="*/ 123 h 475"/>
                <a:gd name="T18" fmla="*/ 70 w 544"/>
                <a:gd name="T19" fmla="*/ 88 h 475"/>
                <a:gd name="T20" fmla="*/ 70 w 544"/>
                <a:gd name="T21" fmla="*/ 71 h 475"/>
                <a:gd name="T22" fmla="*/ 105 w 544"/>
                <a:gd name="T23" fmla="*/ 71 h 475"/>
                <a:gd name="T24" fmla="*/ 140 w 544"/>
                <a:gd name="T25" fmla="*/ 71 h 475"/>
                <a:gd name="T26" fmla="*/ 176 w 544"/>
                <a:gd name="T27" fmla="*/ 88 h 475"/>
                <a:gd name="T28" fmla="*/ 211 w 544"/>
                <a:gd name="T29" fmla="*/ 53 h 475"/>
                <a:gd name="T30" fmla="*/ 211 w 544"/>
                <a:gd name="T31" fmla="*/ 0 h 475"/>
                <a:gd name="T32" fmla="*/ 263 w 544"/>
                <a:gd name="T33" fmla="*/ 71 h 475"/>
                <a:gd name="T34" fmla="*/ 299 w 544"/>
                <a:gd name="T35" fmla="*/ 106 h 475"/>
                <a:gd name="T36" fmla="*/ 386 w 544"/>
                <a:gd name="T37" fmla="*/ 106 h 475"/>
                <a:gd name="T38" fmla="*/ 404 w 544"/>
                <a:gd name="T39" fmla="*/ 141 h 475"/>
                <a:gd name="T40" fmla="*/ 439 w 544"/>
                <a:gd name="T41" fmla="*/ 176 h 475"/>
                <a:gd name="T42" fmla="*/ 492 w 544"/>
                <a:gd name="T43" fmla="*/ 176 h 475"/>
                <a:gd name="T44" fmla="*/ 509 w 544"/>
                <a:gd name="T45" fmla="*/ 176 h 475"/>
                <a:gd name="T46" fmla="*/ 509 w 544"/>
                <a:gd name="T47" fmla="*/ 229 h 475"/>
                <a:gd name="T48" fmla="*/ 527 w 544"/>
                <a:gd name="T49" fmla="*/ 264 h 475"/>
                <a:gd name="T50" fmla="*/ 544 w 544"/>
                <a:gd name="T51" fmla="*/ 299 h 475"/>
                <a:gd name="T52" fmla="*/ 492 w 544"/>
                <a:gd name="T53" fmla="*/ 387 h 475"/>
                <a:gd name="T54" fmla="*/ 474 w 544"/>
                <a:gd name="T55" fmla="*/ 387 h 475"/>
                <a:gd name="T56" fmla="*/ 386 w 544"/>
                <a:gd name="T57" fmla="*/ 352 h 475"/>
                <a:gd name="T58" fmla="*/ 281 w 544"/>
                <a:gd name="T59" fmla="*/ 317 h 475"/>
                <a:gd name="T60" fmla="*/ 263 w 544"/>
                <a:gd name="T61" fmla="*/ 334 h 475"/>
                <a:gd name="T62" fmla="*/ 263 w 544"/>
                <a:gd name="T63" fmla="*/ 352 h 475"/>
                <a:gd name="T64" fmla="*/ 211 w 544"/>
                <a:gd name="T65" fmla="*/ 334 h 475"/>
                <a:gd name="T66" fmla="*/ 193 w 544"/>
                <a:gd name="T67" fmla="*/ 387 h 475"/>
                <a:gd name="T68" fmla="*/ 211 w 544"/>
                <a:gd name="T69" fmla="*/ 440 h 475"/>
                <a:gd name="T70" fmla="*/ 211 w 544"/>
                <a:gd name="T71" fmla="*/ 457 h 475"/>
                <a:gd name="T72" fmla="*/ 211 w 544"/>
                <a:gd name="T73" fmla="*/ 475 h 47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544"/>
                <a:gd name="T112" fmla="*/ 0 h 475"/>
                <a:gd name="T113" fmla="*/ 544 w 544"/>
                <a:gd name="T114" fmla="*/ 475 h 475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544" h="475">
                  <a:moveTo>
                    <a:pt x="211" y="475"/>
                  </a:moveTo>
                  <a:lnTo>
                    <a:pt x="211" y="475"/>
                  </a:lnTo>
                  <a:lnTo>
                    <a:pt x="88" y="440"/>
                  </a:lnTo>
                  <a:lnTo>
                    <a:pt x="35" y="422"/>
                  </a:lnTo>
                  <a:lnTo>
                    <a:pt x="0" y="387"/>
                  </a:lnTo>
                  <a:lnTo>
                    <a:pt x="17" y="369"/>
                  </a:lnTo>
                  <a:lnTo>
                    <a:pt x="53" y="334"/>
                  </a:lnTo>
                  <a:lnTo>
                    <a:pt x="88" y="317"/>
                  </a:lnTo>
                  <a:lnTo>
                    <a:pt x="105" y="281"/>
                  </a:lnTo>
                  <a:lnTo>
                    <a:pt x="88" y="246"/>
                  </a:lnTo>
                  <a:lnTo>
                    <a:pt x="70" y="229"/>
                  </a:lnTo>
                  <a:lnTo>
                    <a:pt x="88" y="194"/>
                  </a:lnTo>
                  <a:lnTo>
                    <a:pt x="105" y="159"/>
                  </a:lnTo>
                  <a:lnTo>
                    <a:pt x="88" y="123"/>
                  </a:lnTo>
                  <a:lnTo>
                    <a:pt x="70" y="88"/>
                  </a:lnTo>
                  <a:lnTo>
                    <a:pt x="70" y="71"/>
                  </a:lnTo>
                  <a:lnTo>
                    <a:pt x="105" y="71"/>
                  </a:lnTo>
                  <a:lnTo>
                    <a:pt x="140" y="71"/>
                  </a:lnTo>
                  <a:lnTo>
                    <a:pt x="176" y="88"/>
                  </a:lnTo>
                  <a:lnTo>
                    <a:pt x="193" y="88"/>
                  </a:lnTo>
                  <a:lnTo>
                    <a:pt x="211" y="53"/>
                  </a:lnTo>
                  <a:lnTo>
                    <a:pt x="211" y="0"/>
                  </a:lnTo>
                  <a:lnTo>
                    <a:pt x="263" y="71"/>
                  </a:lnTo>
                  <a:lnTo>
                    <a:pt x="299" y="106"/>
                  </a:lnTo>
                  <a:lnTo>
                    <a:pt x="334" y="106"/>
                  </a:lnTo>
                  <a:lnTo>
                    <a:pt x="386" y="106"/>
                  </a:lnTo>
                  <a:lnTo>
                    <a:pt x="404" y="141"/>
                  </a:lnTo>
                  <a:lnTo>
                    <a:pt x="404" y="176"/>
                  </a:lnTo>
                  <a:lnTo>
                    <a:pt x="439" y="176"/>
                  </a:lnTo>
                  <a:lnTo>
                    <a:pt x="492" y="176"/>
                  </a:lnTo>
                  <a:lnTo>
                    <a:pt x="509" y="176"/>
                  </a:lnTo>
                  <a:lnTo>
                    <a:pt x="509" y="194"/>
                  </a:lnTo>
                  <a:lnTo>
                    <a:pt x="509" y="229"/>
                  </a:lnTo>
                  <a:lnTo>
                    <a:pt x="527" y="264"/>
                  </a:lnTo>
                  <a:lnTo>
                    <a:pt x="544" y="299"/>
                  </a:lnTo>
                  <a:lnTo>
                    <a:pt x="527" y="369"/>
                  </a:lnTo>
                  <a:lnTo>
                    <a:pt x="492" y="387"/>
                  </a:lnTo>
                  <a:lnTo>
                    <a:pt x="474" y="387"/>
                  </a:lnTo>
                  <a:lnTo>
                    <a:pt x="439" y="387"/>
                  </a:lnTo>
                  <a:lnTo>
                    <a:pt x="386" y="352"/>
                  </a:lnTo>
                  <a:lnTo>
                    <a:pt x="334" y="334"/>
                  </a:lnTo>
                  <a:lnTo>
                    <a:pt x="281" y="317"/>
                  </a:lnTo>
                  <a:lnTo>
                    <a:pt x="263" y="334"/>
                  </a:lnTo>
                  <a:lnTo>
                    <a:pt x="263" y="352"/>
                  </a:lnTo>
                  <a:lnTo>
                    <a:pt x="211" y="334"/>
                  </a:lnTo>
                  <a:lnTo>
                    <a:pt x="211" y="352"/>
                  </a:lnTo>
                  <a:lnTo>
                    <a:pt x="193" y="387"/>
                  </a:lnTo>
                  <a:lnTo>
                    <a:pt x="211" y="440"/>
                  </a:lnTo>
                  <a:lnTo>
                    <a:pt x="211" y="457"/>
                  </a:lnTo>
                  <a:lnTo>
                    <a:pt x="211" y="475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1551154" y="4052496"/>
              <a:ext cx="213390" cy="234636"/>
            </a:xfrm>
            <a:custGeom>
              <a:avLst/>
              <a:gdLst>
                <a:gd name="T0" fmla="*/ 0 w 352"/>
                <a:gd name="T1" fmla="*/ 71 h 387"/>
                <a:gd name="T2" fmla="*/ 0 w 352"/>
                <a:gd name="T3" fmla="*/ 71 h 387"/>
                <a:gd name="T4" fmla="*/ 0 w 352"/>
                <a:gd name="T5" fmla="*/ 123 h 387"/>
                <a:gd name="T6" fmla="*/ 18 w 352"/>
                <a:gd name="T7" fmla="*/ 176 h 387"/>
                <a:gd name="T8" fmla="*/ 18 w 352"/>
                <a:gd name="T9" fmla="*/ 176 h 387"/>
                <a:gd name="T10" fmla="*/ 53 w 352"/>
                <a:gd name="T11" fmla="*/ 229 h 387"/>
                <a:gd name="T12" fmla="*/ 71 w 352"/>
                <a:gd name="T13" fmla="*/ 246 h 387"/>
                <a:gd name="T14" fmla="*/ 71 w 352"/>
                <a:gd name="T15" fmla="*/ 264 h 387"/>
                <a:gd name="T16" fmla="*/ 71 w 352"/>
                <a:gd name="T17" fmla="*/ 264 h 387"/>
                <a:gd name="T18" fmla="*/ 71 w 352"/>
                <a:gd name="T19" fmla="*/ 299 h 387"/>
                <a:gd name="T20" fmla="*/ 71 w 352"/>
                <a:gd name="T21" fmla="*/ 299 h 387"/>
                <a:gd name="T22" fmla="*/ 88 w 352"/>
                <a:gd name="T23" fmla="*/ 334 h 387"/>
                <a:gd name="T24" fmla="*/ 123 w 352"/>
                <a:gd name="T25" fmla="*/ 387 h 387"/>
                <a:gd name="T26" fmla="*/ 123 w 352"/>
                <a:gd name="T27" fmla="*/ 387 h 387"/>
                <a:gd name="T28" fmla="*/ 159 w 352"/>
                <a:gd name="T29" fmla="*/ 387 h 387"/>
                <a:gd name="T30" fmla="*/ 159 w 352"/>
                <a:gd name="T31" fmla="*/ 387 h 387"/>
                <a:gd name="T32" fmla="*/ 159 w 352"/>
                <a:gd name="T33" fmla="*/ 387 h 387"/>
                <a:gd name="T34" fmla="*/ 176 w 352"/>
                <a:gd name="T35" fmla="*/ 352 h 387"/>
                <a:gd name="T36" fmla="*/ 194 w 352"/>
                <a:gd name="T37" fmla="*/ 334 h 387"/>
                <a:gd name="T38" fmla="*/ 246 w 352"/>
                <a:gd name="T39" fmla="*/ 334 h 387"/>
                <a:gd name="T40" fmla="*/ 246 w 352"/>
                <a:gd name="T41" fmla="*/ 334 h 387"/>
                <a:gd name="T42" fmla="*/ 282 w 352"/>
                <a:gd name="T43" fmla="*/ 264 h 387"/>
                <a:gd name="T44" fmla="*/ 282 w 352"/>
                <a:gd name="T45" fmla="*/ 229 h 387"/>
                <a:gd name="T46" fmla="*/ 282 w 352"/>
                <a:gd name="T47" fmla="*/ 229 h 387"/>
                <a:gd name="T48" fmla="*/ 317 w 352"/>
                <a:gd name="T49" fmla="*/ 176 h 387"/>
                <a:gd name="T50" fmla="*/ 317 w 352"/>
                <a:gd name="T51" fmla="*/ 176 h 387"/>
                <a:gd name="T52" fmla="*/ 317 w 352"/>
                <a:gd name="T53" fmla="*/ 176 h 387"/>
                <a:gd name="T54" fmla="*/ 317 w 352"/>
                <a:gd name="T55" fmla="*/ 194 h 387"/>
                <a:gd name="T56" fmla="*/ 317 w 352"/>
                <a:gd name="T57" fmla="*/ 176 h 387"/>
                <a:gd name="T58" fmla="*/ 317 w 352"/>
                <a:gd name="T59" fmla="*/ 176 h 387"/>
                <a:gd name="T60" fmla="*/ 334 w 352"/>
                <a:gd name="T61" fmla="*/ 158 h 387"/>
                <a:gd name="T62" fmla="*/ 352 w 352"/>
                <a:gd name="T63" fmla="*/ 141 h 387"/>
                <a:gd name="T64" fmla="*/ 352 w 352"/>
                <a:gd name="T65" fmla="*/ 141 h 387"/>
                <a:gd name="T66" fmla="*/ 334 w 352"/>
                <a:gd name="T67" fmla="*/ 88 h 387"/>
                <a:gd name="T68" fmla="*/ 317 w 352"/>
                <a:gd name="T69" fmla="*/ 71 h 387"/>
                <a:gd name="T70" fmla="*/ 282 w 352"/>
                <a:gd name="T71" fmla="*/ 35 h 387"/>
                <a:gd name="T72" fmla="*/ 282 w 352"/>
                <a:gd name="T73" fmla="*/ 0 h 387"/>
                <a:gd name="T74" fmla="*/ 282 w 352"/>
                <a:gd name="T75" fmla="*/ 0 h 387"/>
                <a:gd name="T76" fmla="*/ 264 w 352"/>
                <a:gd name="T77" fmla="*/ 0 h 387"/>
                <a:gd name="T78" fmla="*/ 264 w 352"/>
                <a:gd name="T79" fmla="*/ 0 h 387"/>
                <a:gd name="T80" fmla="*/ 264 w 352"/>
                <a:gd name="T81" fmla="*/ 0 h 387"/>
                <a:gd name="T82" fmla="*/ 246 w 352"/>
                <a:gd name="T83" fmla="*/ 18 h 387"/>
                <a:gd name="T84" fmla="*/ 229 w 352"/>
                <a:gd name="T85" fmla="*/ 35 h 387"/>
                <a:gd name="T86" fmla="*/ 229 w 352"/>
                <a:gd name="T87" fmla="*/ 35 h 387"/>
                <a:gd name="T88" fmla="*/ 194 w 352"/>
                <a:gd name="T89" fmla="*/ 18 h 387"/>
                <a:gd name="T90" fmla="*/ 194 w 352"/>
                <a:gd name="T91" fmla="*/ 18 h 387"/>
                <a:gd name="T92" fmla="*/ 194 w 352"/>
                <a:gd name="T93" fmla="*/ 18 h 387"/>
                <a:gd name="T94" fmla="*/ 176 w 352"/>
                <a:gd name="T95" fmla="*/ 35 h 387"/>
                <a:gd name="T96" fmla="*/ 176 w 352"/>
                <a:gd name="T97" fmla="*/ 35 h 387"/>
                <a:gd name="T98" fmla="*/ 159 w 352"/>
                <a:gd name="T99" fmla="*/ 53 h 387"/>
                <a:gd name="T100" fmla="*/ 159 w 352"/>
                <a:gd name="T101" fmla="*/ 53 h 387"/>
                <a:gd name="T102" fmla="*/ 141 w 352"/>
                <a:gd name="T103" fmla="*/ 35 h 387"/>
                <a:gd name="T104" fmla="*/ 123 w 352"/>
                <a:gd name="T105" fmla="*/ 35 h 387"/>
                <a:gd name="T106" fmla="*/ 106 w 352"/>
                <a:gd name="T107" fmla="*/ 18 h 387"/>
                <a:gd name="T108" fmla="*/ 88 w 352"/>
                <a:gd name="T109" fmla="*/ 0 h 387"/>
                <a:gd name="T110" fmla="*/ 88 w 352"/>
                <a:gd name="T111" fmla="*/ 0 h 387"/>
                <a:gd name="T112" fmla="*/ 53 w 352"/>
                <a:gd name="T113" fmla="*/ 18 h 387"/>
                <a:gd name="T114" fmla="*/ 36 w 352"/>
                <a:gd name="T115" fmla="*/ 35 h 387"/>
                <a:gd name="T116" fmla="*/ 0 w 352"/>
                <a:gd name="T117" fmla="*/ 71 h 387"/>
                <a:gd name="T118" fmla="*/ 0 w 352"/>
                <a:gd name="T119" fmla="*/ 71 h 387"/>
                <a:gd name="T120" fmla="*/ 0 w 352"/>
                <a:gd name="T121" fmla="*/ 71 h 387"/>
                <a:gd name="T122" fmla="*/ 0 w 352"/>
                <a:gd name="T123" fmla="*/ 71 h 38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52"/>
                <a:gd name="T187" fmla="*/ 0 h 387"/>
                <a:gd name="T188" fmla="*/ 352 w 352"/>
                <a:gd name="T189" fmla="*/ 387 h 38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52" h="387">
                  <a:moveTo>
                    <a:pt x="0" y="71"/>
                  </a:moveTo>
                  <a:lnTo>
                    <a:pt x="0" y="71"/>
                  </a:lnTo>
                  <a:lnTo>
                    <a:pt x="0" y="123"/>
                  </a:lnTo>
                  <a:lnTo>
                    <a:pt x="18" y="176"/>
                  </a:lnTo>
                  <a:lnTo>
                    <a:pt x="53" y="229"/>
                  </a:lnTo>
                  <a:lnTo>
                    <a:pt x="71" y="246"/>
                  </a:lnTo>
                  <a:lnTo>
                    <a:pt x="71" y="264"/>
                  </a:lnTo>
                  <a:lnTo>
                    <a:pt x="71" y="299"/>
                  </a:lnTo>
                  <a:lnTo>
                    <a:pt x="88" y="334"/>
                  </a:lnTo>
                  <a:lnTo>
                    <a:pt x="123" y="387"/>
                  </a:lnTo>
                  <a:lnTo>
                    <a:pt x="159" y="387"/>
                  </a:lnTo>
                  <a:lnTo>
                    <a:pt x="176" y="352"/>
                  </a:lnTo>
                  <a:lnTo>
                    <a:pt x="194" y="334"/>
                  </a:lnTo>
                  <a:lnTo>
                    <a:pt x="246" y="334"/>
                  </a:lnTo>
                  <a:lnTo>
                    <a:pt x="282" y="264"/>
                  </a:lnTo>
                  <a:lnTo>
                    <a:pt x="282" y="229"/>
                  </a:lnTo>
                  <a:lnTo>
                    <a:pt x="317" y="176"/>
                  </a:lnTo>
                  <a:lnTo>
                    <a:pt x="317" y="194"/>
                  </a:lnTo>
                  <a:lnTo>
                    <a:pt x="317" y="176"/>
                  </a:lnTo>
                  <a:lnTo>
                    <a:pt x="334" y="158"/>
                  </a:lnTo>
                  <a:lnTo>
                    <a:pt x="352" y="141"/>
                  </a:lnTo>
                  <a:lnTo>
                    <a:pt x="334" y="88"/>
                  </a:lnTo>
                  <a:lnTo>
                    <a:pt x="317" y="71"/>
                  </a:lnTo>
                  <a:lnTo>
                    <a:pt x="282" y="35"/>
                  </a:lnTo>
                  <a:lnTo>
                    <a:pt x="282" y="0"/>
                  </a:lnTo>
                  <a:lnTo>
                    <a:pt x="264" y="0"/>
                  </a:lnTo>
                  <a:lnTo>
                    <a:pt x="246" y="18"/>
                  </a:lnTo>
                  <a:lnTo>
                    <a:pt x="229" y="35"/>
                  </a:lnTo>
                  <a:lnTo>
                    <a:pt x="194" y="18"/>
                  </a:lnTo>
                  <a:lnTo>
                    <a:pt x="176" y="35"/>
                  </a:lnTo>
                  <a:lnTo>
                    <a:pt x="159" y="53"/>
                  </a:lnTo>
                  <a:lnTo>
                    <a:pt x="141" y="35"/>
                  </a:lnTo>
                  <a:lnTo>
                    <a:pt x="123" y="35"/>
                  </a:lnTo>
                  <a:lnTo>
                    <a:pt x="106" y="18"/>
                  </a:lnTo>
                  <a:lnTo>
                    <a:pt x="88" y="0"/>
                  </a:lnTo>
                  <a:lnTo>
                    <a:pt x="53" y="18"/>
                  </a:lnTo>
                  <a:lnTo>
                    <a:pt x="36" y="35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68" name="Freeform 47"/>
            <p:cNvSpPr>
              <a:spLocks/>
            </p:cNvSpPr>
            <p:nvPr/>
          </p:nvSpPr>
          <p:spPr bwMode="auto">
            <a:xfrm>
              <a:off x="1594196" y="5074708"/>
              <a:ext cx="234001" cy="426225"/>
            </a:xfrm>
            <a:custGeom>
              <a:avLst/>
              <a:gdLst>
                <a:gd name="T0" fmla="*/ 316 w 386"/>
                <a:gd name="T1" fmla="*/ 194 h 703"/>
                <a:gd name="T2" fmla="*/ 281 w 386"/>
                <a:gd name="T3" fmla="*/ 141 h 703"/>
                <a:gd name="T4" fmla="*/ 298 w 386"/>
                <a:gd name="T5" fmla="*/ 106 h 703"/>
                <a:gd name="T6" fmla="*/ 316 w 386"/>
                <a:gd name="T7" fmla="*/ 71 h 703"/>
                <a:gd name="T8" fmla="*/ 298 w 386"/>
                <a:gd name="T9" fmla="*/ 18 h 703"/>
                <a:gd name="T10" fmla="*/ 263 w 386"/>
                <a:gd name="T11" fmla="*/ 0 h 703"/>
                <a:gd name="T12" fmla="*/ 211 w 386"/>
                <a:gd name="T13" fmla="*/ 18 h 703"/>
                <a:gd name="T14" fmla="*/ 123 w 386"/>
                <a:gd name="T15" fmla="*/ 0 h 703"/>
                <a:gd name="T16" fmla="*/ 88 w 386"/>
                <a:gd name="T17" fmla="*/ 18 h 703"/>
                <a:gd name="T18" fmla="*/ 123 w 386"/>
                <a:gd name="T19" fmla="*/ 106 h 703"/>
                <a:gd name="T20" fmla="*/ 140 w 386"/>
                <a:gd name="T21" fmla="*/ 194 h 703"/>
                <a:gd name="T22" fmla="*/ 140 w 386"/>
                <a:gd name="T23" fmla="*/ 246 h 703"/>
                <a:gd name="T24" fmla="*/ 193 w 386"/>
                <a:gd name="T25" fmla="*/ 281 h 703"/>
                <a:gd name="T26" fmla="*/ 193 w 386"/>
                <a:gd name="T27" fmla="*/ 299 h 703"/>
                <a:gd name="T28" fmla="*/ 193 w 386"/>
                <a:gd name="T29" fmla="*/ 299 h 703"/>
                <a:gd name="T30" fmla="*/ 158 w 386"/>
                <a:gd name="T31" fmla="*/ 352 h 703"/>
                <a:gd name="T32" fmla="*/ 175 w 386"/>
                <a:gd name="T33" fmla="*/ 440 h 703"/>
                <a:gd name="T34" fmla="*/ 140 w 386"/>
                <a:gd name="T35" fmla="*/ 475 h 703"/>
                <a:gd name="T36" fmla="*/ 105 w 386"/>
                <a:gd name="T37" fmla="*/ 475 h 703"/>
                <a:gd name="T38" fmla="*/ 70 w 386"/>
                <a:gd name="T39" fmla="*/ 475 h 703"/>
                <a:gd name="T40" fmla="*/ 52 w 386"/>
                <a:gd name="T41" fmla="*/ 492 h 703"/>
                <a:gd name="T42" fmla="*/ 70 w 386"/>
                <a:gd name="T43" fmla="*/ 545 h 703"/>
                <a:gd name="T44" fmla="*/ 70 w 386"/>
                <a:gd name="T45" fmla="*/ 580 h 703"/>
                <a:gd name="T46" fmla="*/ 17 w 386"/>
                <a:gd name="T47" fmla="*/ 615 h 703"/>
                <a:gd name="T48" fmla="*/ 0 w 386"/>
                <a:gd name="T49" fmla="*/ 633 h 703"/>
                <a:gd name="T50" fmla="*/ 35 w 386"/>
                <a:gd name="T51" fmla="*/ 650 h 703"/>
                <a:gd name="T52" fmla="*/ 52 w 386"/>
                <a:gd name="T53" fmla="*/ 668 h 703"/>
                <a:gd name="T54" fmla="*/ 70 w 386"/>
                <a:gd name="T55" fmla="*/ 685 h 703"/>
                <a:gd name="T56" fmla="*/ 175 w 386"/>
                <a:gd name="T57" fmla="*/ 703 h 703"/>
                <a:gd name="T58" fmla="*/ 263 w 386"/>
                <a:gd name="T59" fmla="*/ 685 h 703"/>
                <a:gd name="T60" fmla="*/ 334 w 386"/>
                <a:gd name="T61" fmla="*/ 685 h 703"/>
                <a:gd name="T62" fmla="*/ 316 w 386"/>
                <a:gd name="T63" fmla="*/ 668 h 703"/>
                <a:gd name="T64" fmla="*/ 316 w 386"/>
                <a:gd name="T65" fmla="*/ 563 h 703"/>
                <a:gd name="T66" fmla="*/ 351 w 386"/>
                <a:gd name="T67" fmla="*/ 580 h 703"/>
                <a:gd name="T68" fmla="*/ 386 w 386"/>
                <a:gd name="T69" fmla="*/ 615 h 703"/>
                <a:gd name="T70" fmla="*/ 386 w 386"/>
                <a:gd name="T71" fmla="*/ 492 h 703"/>
                <a:gd name="T72" fmla="*/ 386 w 386"/>
                <a:gd name="T73" fmla="*/ 404 h 703"/>
                <a:gd name="T74" fmla="*/ 351 w 386"/>
                <a:gd name="T75" fmla="*/ 334 h 703"/>
                <a:gd name="T76" fmla="*/ 316 w 386"/>
                <a:gd name="T77" fmla="*/ 317 h 703"/>
                <a:gd name="T78" fmla="*/ 281 w 386"/>
                <a:gd name="T79" fmla="*/ 281 h 703"/>
                <a:gd name="T80" fmla="*/ 281 w 386"/>
                <a:gd name="T81" fmla="*/ 264 h 703"/>
                <a:gd name="T82" fmla="*/ 334 w 386"/>
                <a:gd name="T83" fmla="*/ 211 h 703"/>
                <a:gd name="T84" fmla="*/ 316 w 386"/>
                <a:gd name="T85" fmla="*/ 194 h 70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86"/>
                <a:gd name="T130" fmla="*/ 0 h 703"/>
                <a:gd name="T131" fmla="*/ 386 w 386"/>
                <a:gd name="T132" fmla="*/ 703 h 70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86" h="703">
                  <a:moveTo>
                    <a:pt x="316" y="194"/>
                  </a:moveTo>
                  <a:lnTo>
                    <a:pt x="316" y="194"/>
                  </a:lnTo>
                  <a:lnTo>
                    <a:pt x="298" y="176"/>
                  </a:lnTo>
                  <a:lnTo>
                    <a:pt x="281" y="141"/>
                  </a:lnTo>
                  <a:lnTo>
                    <a:pt x="298" y="106"/>
                  </a:lnTo>
                  <a:lnTo>
                    <a:pt x="316" y="71"/>
                  </a:lnTo>
                  <a:lnTo>
                    <a:pt x="298" y="36"/>
                  </a:lnTo>
                  <a:lnTo>
                    <a:pt x="298" y="18"/>
                  </a:lnTo>
                  <a:lnTo>
                    <a:pt x="263" y="0"/>
                  </a:lnTo>
                  <a:lnTo>
                    <a:pt x="211" y="18"/>
                  </a:lnTo>
                  <a:lnTo>
                    <a:pt x="123" y="0"/>
                  </a:lnTo>
                  <a:lnTo>
                    <a:pt x="105" y="0"/>
                  </a:lnTo>
                  <a:lnTo>
                    <a:pt x="88" y="18"/>
                  </a:lnTo>
                  <a:lnTo>
                    <a:pt x="123" y="106"/>
                  </a:lnTo>
                  <a:lnTo>
                    <a:pt x="123" y="141"/>
                  </a:lnTo>
                  <a:lnTo>
                    <a:pt x="140" y="194"/>
                  </a:lnTo>
                  <a:lnTo>
                    <a:pt x="140" y="246"/>
                  </a:lnTo>
                  <a:lnTo>
                    <a:pt x="158" y="264"/>
                  </a:lnTo>
                  <a:lnTo>
                    <a:pt x="193" y="281"/>
                  </a:lnTo>
                  <a:lnTo>
                    <a:pt x="193" y="299"/>
                  </a:lnTo>
                  <a:lnTo>
                    <a:pt x="158" y="334"/>
                  </a:lnTo>
                  <a:lnTo>
                    <a:pt x="158" y="352"/>
                  </a:lnTo>
                  <a:lnTo>
                    <a:pt x="175" y="440"/>
                  </a:lnTo>
                  <a:lnTo>
                    <a:pt x="140" y="475"/>
                  </a:lnTo>
                  <a:lnTo>
                    <a:pt x="105" y="475"/>
                  </a:lnTo>
                  <a:lnTo>
                    <a:pt x="70" y="475"/>
                  </a:lnTo>
                  <a:lnTo>
                    <a:pt x="52" y="475"/>
                  </a:lnTo>
                  <a:lnTo>
                    <a:pt x="52" y="492"/>
                  </a:lnTo>
                  <a:lnTo>
                    <a:pt x="70" y="545"/>
                  </a:lnTo>
                  <a:lnTo>
                    <a:pt x="70" y="580"/>
                  </a:lnTo>
                  <a:lnTo>
                    <a:pt x="35" y="598"/>
                  </a:lnTo>
                  <a:lnTo>
                    <a:pt x="17" y="615"/>
                  </a:lnTo>
                  <a:lnTo>
                    <a:pt x="0" y="633"/>
                  </a:lnTo>
                  <a:lnTo>
                    <a:pt x="17" y="650"/>
                  </a:lnTo>
                  <a:lnTo>
                    <a:pt x="35" y="650"/>
                  </a:lnTo>
                  <a:lnTo>
                    <a:pt x="52" y="668"/>
                  </a:lnTo>
                  <a:lnTo>
                    <a:pt x="70" y="685"/>
                  </a:lnTo>
                  <a:lnTo>
                    <a:pt x="175" y="703"/>
                  </a:lnTo>
                  <a:lnTo>
                    <a:pt x="263" y="685"/>
                  </a:lnTo>
                  <a:lnTo>
                    <a:pt x="334" y="685"/>
                  </a:lnTo>
                  <a:lnTo>
                    <a:pt x="316" y="668"/>
                  </a:lnTo>
                  <a:lnTo>
                    <a:pt x="316" y="563"/>
                  </a:lnTo>
                  <a:lnTo>
                    <a:pt x="351" y="580"/>
                  </a:lnTo>
                  <a:lnTo>
                    <a:pt x="386" y="615"/>
                  </a:lnTo>
                  <a:lnTo>
                    <a:pt x="386" y="545"/>
                  </a:lnTo>
                  <a:lnTo>
                    <a:pt x="386" y="492"/>
                  </a:lnTo>
                  <a:lnTo>
                    <a:pt x="386" y="404"/>
                  </a:lnTo>
                  <a:lnTo>
                    <a:pt x="386" y="369"/>
                  </a:lnTo>
                  <a:lnTo>
                    <a:pt x="351" y="334"/>
                  </a:lnTo>
                  <a:lnTo>
                    <a:pt x="316" y="317"/>
                  </a:lnTo>
                  <a:lnTo>
                    <a:pt x="281" y="317"/>
                  </a:lnTo>
                  <a:lnTo>
                    <a:pt x="281" y="281"/>
                  </a:lnTo>
                  <a:lnTo>
                    <a:pt x="281" y="264"/>
                  </a:lnTo>
                  <a:lnTo>
                    <a:pt x="298" y="246"/>
                  </a:lnTo>
                  <a:lnTo>
                    <a:pt x="334" y="211"/>
                  </a:lnTo>
                  <a:lnTo>
                    <a:pt x="316" y="194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48"/>
            <p:cNvSpPr>
              <a:spLocks/>
            </p:cNvSpPr>
            <p:nvPr/>
          </p:nvSpPr>
          <p:spPr bwMode="auto">
            <a:xfrm>
              <a:off x="1114675" y="4702443"/>
              <a:ext cx="468609" cy="521413"/>
            </a:xfrm>
            <a:custGeom>
              <a:avLst/>
              <a:gdLst>
                <a:gd name="T0" fmla="*/ 650 w 773"/>
                <a:gd name="T1" fmla="*/ 35 h 860"/>
                <a:gd name="T2" fmla="*/ 598 w 773"/>
                <a:gd name="T3" fmla="*/ 17 h 860"/>
                <a:gd name="T4" fmla="*/ 545 w 773"/>
                <a:gd name="T5" fmla="*/ 0 h 860"/>
                <a:gd name="T6" fmla="*/ 527 w 773"/>
                <a:gd name="T7" fmla="*/ 35 h 860"/>
                <a:gd name="T8" fmla="*/ 475 w 773"/>
                <a:gd name="T9" fmla="*/ 70 h 860"/>
                <a:gd name="T10" fmla="*/ 422 w 773"/>
                <a:gd name="T11" fmla="*/ 88 h 860"/>
                <a:gd name="T12" fmla="*/ 387 w 773"/>
                <a:gd name="T13" fmla="*/ 105 h 860"/>
                <a:gd name="T14" fmla="*/ 369 w 773"/>
                <a:gd name="T15" fmla="*/ 140 h 860"/>
                <a:gd name="T16" fmla="*/ 316 w 773"/>
                <a:gd name="T17" fmla="*/ 228 h 860"/>
                <a:gd name="T18" fmla="*/ 246 w 773"/>
                <a:gd name="T19" fmla="*/ 228 h 860"/>
                <a:gd name="T20" fmla="*/ 176 w 773"/>
                <a:gd name="T21" fmla="*/ 158 h 860"/>
                <a:gd name="T22" fmla="*/ 141 w 773"/>
                <a:gd name="T23" fmla="*/ 175 h 860"/>
                <a:gd name="T24" fmla="*/ 88 w 773"/>
                <a:gd name="T25" fmla="*/ 140 h 860"/>
                <a:gd name="T26" fmla="*/ 0 w 773"/>
                <a:gd name="T27" fmla="*/ 211 h 860"/>
                <a:gd name="T28" fmla="*/ 106 w 773"/>
                <a:gd name="T29" fmla="*/ 246 h 860"/>
                <a:gd name="T30" fmla="*/ 106 w 773"/>
                <a:gd name="T31" fmla="*/ 298 h 860"/>
                <a:gd name="T32" fmla="*/ 35 w 773"/>
                <a:gd name="T33" fmla="*/ 369 h 860"/>
                <a:gd name="T34" fmla="*/ 158 w 773"/>
                <a:gd name="T35" fmla="*/ 404 h 860"/>
                <a:gd name="T36" fmla="*/ 158 w 773"/>
                <a:gd name="T37" fmla="*/ 474 h 860"/>
                <a:gd name="T38" fmla="*/ 141 w 773"/>
                <a:gd name="T39" fmla="*/ 527 h 860"/>
                <a:gd name="T40" fmla="*/ 176 w 773"/>
                <a:gd name="T41" fmla="*/ 579 h 860"/>
                <a:gd name="T42" fmla="*/ 176 w 773"/>
                <a:gd name="T43" fmla="*/ 685 h 860"/>
                <a:gd name="T44" fmla="*/ 193 w 773"/>
                <a:gd name="T45" fmla="*/ 685 h 860"/>
                <a:gd name="T46" fmla="*/ 246 w 773"/>
                <a:gd name="T47" fmla="*/ 702 h 860"/>
                <a:gd name="T48" fmla="*/ 281 w 773"/>
                <a:gd name="T49" fmla="*/ 685 h 860"/>
                <a:gd name="T50" fmla="*/ 334 w 773"/>
                <a:gd name="T51" fmla="*/ 702 h 860"/>
                <a:gd name="T52" fmla="*/ 352 w 773"/>
                <a:gd name="T53" fmla="*/ 667 h 860"/>
                <a:gd name="T54" fmla="*/ 387 w 773"/>
                <a:gd name="T55" fmla="*/ 667 h 860"/>
                <a:gd name="T56" fmla="*/ 457 w 773"/>
                <a:gd name="T57" fmla="*/ 790 h 860"/>
                <a:gd name="T58" fmla="*/ 475 w 773"/>
                <a:gd name="T59" fmla="*/ 843 h 860"/>
                <a:gd name="T60" fmla="*/ 545 w 773"/>
                <a:gd name="T61" fmla="*/ 860 h 860"/>
                <a:gd name="T62" fmla="*/ 562 w 773"/>
                <a:gd name="T63" fmla="*/ 825 h 860"/>
                <a:gd name="T64" fmla="*/ 580 w 773"/>
                <a:gd name="T65" fmla="*/ 790 h 860"/>
                <a:gd name="T66" fmla="*/ 703 w 773"/>
                <a:gd name="T67" fmla="*/ 737 h 860"/>
                <a:gd name="T68" fmla="*/ 720 w 773"/>
                <a:gd name="T69" fmla="*/ 667 h 860"/>
                <a:gd name="T70" fmla="*/ 685 w 773"/>
                <a:gd name="T71" fmla="*/ 667 h 860"/>
                <a:gd name="T72" fmla="*/ 668 w 773"/>
                <a:gd name="T73" fmla="*/ 685 h 860"/>
                <a:gd name="T74" fmla="*/ 650 w 773"/>
                <a:gd name="T75" fmla="*/ 667 h 860"/>
                <a:gd name="T76" fmla="*/ 650 w 773"/>
                <a:gd name="T77" fmla="*/ 650 h 860"/>
                <a:gd name="T78" fmla="*/ 650 w 773"/>
                <a:gd name="T79" fmla="*/ 632 h 860"/>
                <a:gd name="T80" fmla="*/ 580 w 773"/>
                <a:gd name="T81" fmla="*/ 562 h 860"/>
                <a:gd name="T82" fmla="*/ 580 w 773"/>
                <a:gd name="T83" fmla="*/ 456 h 860"/>
                <a:gd name="T84" fmla="*/ 545 w 773"/>
                <a:gd name="T85" fmla="*/ 404 h 860"/>
                <a:gd name="T86" fmla="*/ 580 w 773"/>
                <a:gd name="T87" fmla="*/ 369 h 860"/>
                <a:gd name="T88" fmla="*/ 685 w 773"/>
                <a:gd name="T89" fmla="*/ 369 h 860"/>
                <a:gd name="T90" fmla="*/ 720 w 773"/>
                <a:gd name="T91" fmla="*/ 351 h 860"/>
                <a:gd name="T92" fmla="*/ 720 w 773"/>
                <a:gd name="T93" fmla="*/ 246 h 860"/>
                <a:gd name="T94" fmla="*/ 738 w 773"/>
                <a:gd name="T95" fmla="*/ 193 h 860"/>
                <a:gd name="T96" fmla="*/ 773 w 773"/>
                <a:gd name="T97" fmla="*/ 123 h 860"/>
                <a:gd name="T98" fmla="*/ 738 w 773"/>
                <a:gd name="T99" fmla="*/ 35 h 860"/>
                <a:gd name="T100" fmla="*/ 720 w 773"/>
                <a:gd name="T101" fmla="*/ 35 h 86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773"/>
                <a:gd name="T154" fmla="*/ 0 h 860"/>
                <a:gd name="T155" fmla="*/ 773 w 773"/>
                <a:gd name="T156" fmla="*/ 860 h 86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773" h="860">
                  <a:moveTo>
                    <a:pt x="720" y="35"/>
                  </a:moveTo>
                  <a:lnTo>
                    <a:pt x="720" y="35"/>
                  </a:lnTo>
                  <a:lnTo>
                    <a:pt x="650" y="35"/>
                  </a:lnTo>
                  <a:lnTo>
                    <a:pt x="615" y="35"/>
                  </a:lnTo>
                  <a:lnTo>
                    <a:pt x="598" y="17"/>
                  </a:lnTo>
                  <a:lnTo>
                    <a:pt x="562" y="0"/>
                  </a:lnTo>
                  <a:lnTo>
                    <a:pt x="545" y="0"/>
                  </a:lnTo>
                  <a:lnTo>
                    <a:pt x="527" y="0"/>
                  </a:lnTo>
                  <a:lnTo>
                    <a:pt x="527" y="35"/>
                  </a:lnTo>
                  <a:lnTo>
                    <a:pt x="510" y="52"/>
                  </a:lnTo>
                  <a:lnTo>
                    <a:pt x="475" y="70"/>
                  </a:lnTo>
                  <a:lnTo>
                    <a:pt x="422" y="70"/>
                  </a:lnTo>
                  <a:lnTo>
                    <a:pt x="422" y="88"/>
                  </a:lnTo>
                  <a:lnTo>
                    <a:pt x="439" y="123"/>
                  </a:lnTo>
                  <a:lnTo>
                    <a:pt x="387" y="105"/>
                  </a:lnTo>
                  <a:lnTo>
                    <a:pt x="369" y="123"/>
                  </a:lnTo>
                  <a:lnTo>
                    <a:pt x="369" y="140"/>
                  </a:lnTo>
                  <a:lnTo>
                    <a:pt x="334" y="211"/>
                  </a:lnTo>
                  <a:lnTo>
                    <a:pt x="316" y="228"/>
                  </a:lnTo>
                  <a:lnTo>
                    <a:pt x="281" y="246"/>
                  </a:lnTo>
                  <a:lnTo>
                    <a:pt x="246" y="228"/>
                  </a:lnTo>
                  <a:lnTo>
                    <a:pt x="229" y="193"/>
                  </a:lnTo>
                  <a:lnTo>
                    <a:pt x="193" y="175"/>
                  </a:lnTo>
                  <a:lnTo>
                    <a:pt x="176" y="158"/>
                  </a:lnTo>
                  <a:lnTo>
                    <a:pt x="141" y="175"/>
                  </a:lnTo>
                  <a:lnTo>
                    <a:pt x="123" y="158"/>
                  </a:lnTo>
                  <a:lnTo>
                    <a:pt x="88" y="140"/>
                  </a:lnTo>
                  <a:lnTo>
                    <a:pt x="35" y="175"/>
                  </a:lnTo>
                  <a:lnTo>
                    <a:pt x="0" y="211"/>
                  </a:lnTo>
                  <a:lnTo>
                    <a:pt x="70" y="246"/>
                  </a:lnTo>
                  <a:lnTo>
                    <a:pt x="106" y="246"/>
                  </a:lnTo>
                  <a:lnTo>
                    <a:pt x="123" y="281"/>
                  </a:lnTo>
                  <a:lnTo>
                    <a:pt x="123" y="298"/>
                  </a:lnTo>
                  <a:lnTo>
                    <a:pt x="106" y="298"/>
                  </a:lnTo>
                  <a:lnTo>
                    <a:pt x="35" y="298"/>
                  </a:lnTo>
                  <a:lnTo>
                    <a:pt x="35" y="369"/>
                  </a:lnTo>
                  <a:lnTo>
                    <a:pt x="123" y="386"/>
                  </a:lnTo>
                  <a:lnTo>
                    <a:pt x="158" y="404"/>
                  </a:lnTo>
                  <a:lnTo>
                    <a:pt x="176" y="439"/>
                  </a:lnTo>
                  <a:lnTo>
                    <a:pt x="158" y="474"/>
                  </a:lnTo>
                  <a:lnTo>
                    <a:pt x="141" y="492"/>
                  </a:lnTo>
                  <a:lnTo>
                    <a:pt x="141" y="527"/>
                  </a:lnTo>
                  <a:lnTo>
                    <a:pt x="141" y="544"/>
                  </a:lnTo>
                  <a:lnTo>
                    <a:pt x="158" y="562"/>
                  </a:lnTo>
                  <a:lnTo>
                    <a:pt x="176" y="579"/>
                  </a:lnTo>
                  <a:lnTo>
                    <a:pt x="193" y="614"/>
                  </a:lnTo>
                  <a:lnTo>
                    <a:pt x="176" y="685"/>
                  </a:lnTo>
                  <a:lnTo>
                    <a:pt x="193" y="685"/>
                  </a:lnTo>
                  <a:lnTo>
                    <a:pt x="229" y="685"/>
                  </a:lnTo>
                  <a:lnTo>
                    <a:pt x="246" y="702"/>
                  </a:lnTo>
                  <a:lnTo>
                    <a:pt x="264" y="685"/>
                  </a:lnTo>
                  <a:lnTo>
                    <a:pt x="281" y="685"/>
                  </a:lnTo>
                  <a:lnTo>
                    <a:pt x="299" y="685"/>
                  </a:lnTo>
                  <a:lnTo>
                    <a:pt x="334" y="702"/>
                  </a:lnTo>
                  <a:lnTo>
                    <a:pt x="352" y="685"/>
                  </a:lnTo>
                  <a:lnTo>
                    <a:pt x="352" y="667"/>
                  </a:lnTo>
                  <a:lnTo>
                    <a:pt x="387" y="667"/>
                  </a:lnTo>
                  <a:lnTo>
                    <a:pt x="387" y="702"/>
                  </a:lnTo>
                  <a:lnTo>
                    <a:pt x="404" y="737"/>
                  </a:lnTo>
                  <a:lnTo>
                    <a:pt x="457" y="790"/>
                  </a:lnTo>
                  <a:lnTo>
                    <a:pt x="457" y="825"/>
                  </a:lnTo>
                  <a:lnTo>
                    <a:pt x="475" y="843"/>
                  </a:lnTo>
                  <a:lnTo>
                    <a:pt x="492" y="843"/>
                  </a:lnTo>
                  <a:lnTo>
                    <a:pt x="545" y="860"/>
                  </a:lnTo>
                  <a:lnTo>
                    <a:pt x="562" y="860"/>
                  </a:lnTo>
                  <a:lnTo>
                    <a:pt x="562" y="825"/>
                  </a:lnTo>
                  <a:lnTo>
                    <a:pt x="562" y="808"/>
                  </a:lnTo>
                  <a:lnTo>
                    <a:pt x="580" y="790"/>
                  </a:lnTo>
                  <a:lnTo>
                    <a:pt x="668" y="773"/>
                  </a:lnTo>
                  <a:lnTo>
                    <a:pt x="703" y="737"/>
                  </a:lnTo>
                  <a:lnTo>
                    <a:pt x="720" y="685"/>
                  </a:lnTo>
                  <a:lnTo>
                    <a:pt x="720" y="667"/>
                  </a:lnTo>
                  <a:lnTo>
                    <a:pt x="685" y="667"/>
                  </a:lnTo>
                  <a:lnTo>
                    <a:pt x="685" y="685"/>
                  </a:lnTo>
                  <a:lnTo>
                    <a:pt x="668" y="685"/>
                  </a:lnTo>
                  <a:lnTo>
                    <a:pt x="650" y="685"/>
                  </a:lnTo>
                  <a:lnTo>
                    <a:pt x="650" y="667"/>
                  </a:lnTo>
                  <a:lnTo>
                    <a:pt x="650" y="650"/>
                  </a:lnTo>
                  <a:lnTo>
                    <a:pt x="650" y="632"/>
                  </a:lnTo>
                  <a:lnTo>
                    <a:pt x="598" y="614"/>
                  </a:lnTo>
                  <a:lnTo>
                    <a:pt x="580" y="562"/>
                  </a:lnTo>
                  <a:lnTo>
                    <a:pt x="580" y="474"/>
                  </a:lnTo>
                  <a:lnTo>
                    <a:pt x="580" y="456"/>
                  </a:lnTo>
                  <a:lnTo>
                    <a:pt x="562" y="439"/>
                  </a:lnTo>
                  <a:lnTo>
                    <a:pt x="545" y="421"/>
                  </a:lnTo>
                  <a:lnTo>
                    <a:pt x="545" y="404"/>
                  </a:lnTo>
                  <a:lnTo>
                    <a:pt x="562" y="386"/>
                  </a:lnTo>
                  <a:lnTo>
                    <a:pt x="580" y="369"/>
                  </a:lnTo>
                  <a:lnTo>
                    <a:pt x="615" y="351"/>
                  </a:lnTo>
                  <a:lnTo>
                    <a:pt x="685" y="369"/>
                  </a:lnTo>
                  <a:lnTo>
                    <a:pt x="703" y="369"/>
                  </a:lnTo>
                  <a:lnTo>
                    <a:pt x="720" y="351"/>
                  </a:lnTo>
                  <a:lnTo>
                    <a:pt x="720" y="298"/>
                  </a:lnTo>
                  <a:lnTo>
                    <a:pt x="720" y="246"/>
                  </a:lnTo>
                  <a:lnTo>
                    <a:pt x="720" y="211"/>
                  </a:lnTo>
                  <a:lnTo>
                    <a:pt x="738" y="193"/>
                  </a:lnTo>
                  <a:lnTo>
                    <a:pt x="773" y="158"/>
                  </a:lnTo>
                  <a:lnTo>
                    <a:pt x="773" y="123"/>
                  </a:lnTo>
                  <a:lnTo>
                    <a:pt x="756" y="88"/>
                  </a:lnTo>
                  <a:lnTo>
                    <a:pt x="738" y="35"/>
                  </a:lnTo>
                  <a:lnTo>
                    <a:pt x="720" y="35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49"/>
            <p:cNvSpPr>
              <a:spLocks/>
            </p:cNvSpPr>
            <p:nvPr/>
          </p:nvSpPr>
          <p:spPr bwMode="auto">
            <a:xfrm>
              <a:off x="1242588" y="4297439"/>
              <a:ext cx="255825" cy="340737"/>
            </a:xfrm>
            <a:custGeom>
              <a:avLst/>
              <a:gdLst>
                <a:gd name="T0" fmla="*/ 281 w 422"/>
                <a:gd name="T1" fmla="*/ 562 h 562"/>
                <a:gd name="T2" fmla="*/ 334 w 422"/>
                <a:gd name="T3" fmla="*/ 475 h 562"/>
                <a:gd name="T4" fmla="*/ 387 w 422"/>
                <a:gd name="T5" fmla="*/ 387 h 562"/>
                <a:gd name="T6" fmla="*/ 369 w 422"/>
                <a:gd name="T7" fmla="*/ 352 h 562"/>
                <a:gd name="T8" fmla="*/ 387 w 422"/>
                <a:gd name="T9" fmla="*/ 334 h 562"/>
                <a:gd name="T10" fmla="*/ 404 w 422"/>
                <a:gd name="T11" fmla="*/ 316 h 562"/>
                <a:gd name="T12" fmla="*/ 369 w 422"/>
                <a:gd name="T13" fmla="*/ 281 h 562"/>
                <a:gd name="T14" fmla="*/ 387 w 422"/>
                <a:gd name="T15" fmla="*/ 264 h 562"/>
                <a:gd name="T16" fmla="*/ 387 w 422"/>
                <a:gd name="T17" fmla="*/ 229 h 562"/>
                <a:gd name="T18" fmla="*/ 422 w 422"/>
                <a:gd name="T19" fmla="*/ 176 h 562"/>
                <a:gd name="T20" fmla="*/ 316 w 422"/>
                <a:gd name="T21" fmla="*/ 158 h 562"/>
                <a:gd name="T22" fmla="*/ 228 w 422"/>
                <a:gd name="T23" fmla="*/ 123 h 562"/>
                <a:gd name="T24" fmla="*/ 193 w 422"/>
                <a:gd name="T25" fmla="*/ 71 h 562"/>
                <a:gd name="T26" fmla="*/ 141 w 422"/>
                <a:gd name="T27" fmla="*/ 35 h 562"/>
                <a:gd name="T28" fmla="*/ 105 w 422"/>
                <a:gd name="T29" fmla="*/ 35 h 562"/>
                <a:gd name="T30" fmla="*/ 88 w 422"/>
                <a:gd name="T31" fmla="*/ 35 h 562"/>
                <a:gd name="T32" fmla="*/ 70 w 422"/>
                <a:gd name="T33" fmla="*/ 0 h 562"/>
                <a:gd name="T34" fmla="*/ 35 w 422"/>
                <a:gd name="T35" fmla="*/ 71 h 562"/>
                <a:gd name="T36" fmla="*/ 18 w 422"/>
                <a:gd name="T37" fmla="*/ 88 h 562"/>
                <a:gd name="T38" fmla="*/ 0 w 422"/>
                <a:gd name="T39" fmla="*/ 106 h 562"/>
                <a:gd name="T40" fmla="*/ 0 w 422"/>
                <a:gd name="T41" fmla="*/ 141 h 562"/>
                <a:gd name="T42" fmla="*/ 53 w 422"/>
                <a:gd name="T43" fmla="*/ 176 h 562"/>
                <a:gd name="T44" fmla="*/ 70 w 422"/>
                <a:gd name="T45" fmla="*/ 211 h 562"/>
                <a:gd name="T46" fmla="*/ 70 w 422"/>
                <a:gd name="T47" fmla="*/ 264 h 562"/>
                <a:gd name="T48" fmla="*/ 123 w 422"/>
                <a:gd name="T49" fmla="*/ 264 h 562"/>
                <a:gd name="T50" fmla="*/ 158 w 422"/>
                <a:gd name="T51" fmla="*/ 299 h 562"/>
                <a:gd name="T52" fmla="*/ 158 w 422"/>
                <a:gd name="T53" fmla="*/ 352 h 562"/>
                <a:gd name="T54" fmla="*/ 158 w 422"/>
                <a:gd name="T55" fmla="*/ 387 h 562"/>
                <a:gd name="T56" fmla="*/ 176 w 422"/>
                <a:gd name="T57" fmla="*/ 422 h 562"/>
                <a:gd name="T58" fmla="*/ 193 w 422"/>
                <a:gd name="T59" fmla="*/ 439 h 562"/>
                <a:gd name="T60" fmla="*/ 228 w 422"/>
                <a:gd name="T61" fmla="*/ 457 h 562"/>
                <a:gd name="T62" fmla="*/ 281 w 422"/>
                <a:gd name="T63" fmla="*/ 562 h 562"/>
                <a:gd name="T64" fmla="*/ 281 w 422"/>
                <a:gd name="T65" fmla="*/ 562 h 56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22"/>
                <a:gd name="T100" fmla="*/ 0 h 562"/>
                <a:gd name="T101" fmla="*/ 422 w 422"/>
                <a:gd name="T102" fmla="*/ 562 h 56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22" h="562">
                  <a:moveTo>
                    <a:pt x="281" y="562"/>
                  </a:moveTo>
                  <a:lnTo>
                    <a:pt x="281" y="562"/>
                  </a:lnTo>
                  <a:lnTo>
                    <a:pt x="299" y="510"/>
                  </a:lnTo>
                  <a:lnTo>
                    <a:pt x="334" y="475"/>
                  </a:lnTo>
                  <a:lnTo>
                    <a:pt x="369" y="439"/>
                  </a:lnTo>
                  <a:lnTo>
                    <a:pt x="387" y="387"/>
                  </a:lnTo>
                  <a:lnTo>
                    <a:pt x="369" y="352"/>
                  </a:lnTo>
                  <a:lnTo>
                    <a:pt x="387" y="334"/>
                  </a:lnTo>
                  <a:lnTo>
                    <a:pt x="404" y="316"/>
                  </a:lnTo>
                  <a:lnTo>
                    <a:pt x="369" y="281"/>
                  </a:lnTo>
                  <a:lnTo>
                    <a:pt x="387" y="264"/>
                  </a:lnTo>
                  <a:lnTo>
                    <a:pt x="387" y="229"/>
                  </a:lnTo>
                  <a:lnTo>
                    <a:pt x="422" y="176"/>
                  </a:lnTo>
                  <a:lnTo>
                    <a:pt x="316" y="158"/>
                  </a:lnTo>
                  <a:lnTo>
                    <a:pt x="228" y="123"/>
                  </a:lnTo>
                  <a:lnTo>
                    <a:pt x="211" y="106"/>
                  </a:lnTo>
                  <a:lnTo>
                    <a:pt x="193" y="71"/>
                  </a:lnTo>
                  <a:lnTo>
                    <a:pt x="176" y="53"/>
                  </a:lnTo>
                  <a:lnTo>
                    <a:pt x="141" y="35"/>
                  </a:lnTo>
                  <a:lnTo>
                    <a:pt x="105" y="35"/>
                  </a:lnTo>
                  <a:lnTo>
                    <a:pt x="88" y="35"/>
                  </a:lnTo>
                  <a:lnTo>
                    <a:pt x="70" y="0"/>
                  </a:lnTo>
                  <a:lnTo>
                    <a:pt x="53" y="35"/>
                  </a:lnTo>
                  <a:lnTo>
                    <a:pt x="35" y="71"/>
                  </a:lnTo>
                  <a:lnTo>
                    <a:pt x="18" y="88"/>
                  </a:lnTo>
                  <a:lnTo>
                    <a:pt x="0" y="106"/>
                  </a:lnTo>
                  <a:lnTo>
                    <a:pt x="0" y="141"/>
                  </a:lnTo>
                  <a:lnTo>
                    <a:pt x="18" y="158"/>
                  </a:lnTo>
                  <a:lnTo>
                    <a:pt x="53" y="176"/>
                  </a:lnTo>
                  <a:lnTo>
                    <a:pt x="70" y="211"/>
                  </a:lnTo>
                  <a:lnTo>
                    <a:pt x="70" y="246"/>
                  </a:lnTo>
                  <a:lnTo>
                    <a:pt x="70" y="264"/>
                  </a:lnTo>
                  <a:lnTo>
                    <a:pt x="123" y="264"/>
                  </a:lnTo>
                  <a:lnTo>
                    <a:pt x="158" y="281"/>
                  </a:lnTo>
                  <a:lnTo>
                    <a:pt x="158" y="299"/>
                  </a:lnTo>
                  <a:lnTo>
                    <a:pt x="158" y="352"/>
                  </a:lnTo>
                  <a:lnTo>
                    <a:pt x="158" y="387"/>
                  </a:lnTo>
                  <a:lnTo>
                    <a:pt x="176" y="422"/>
                  </a:lnTo>
                  <a:lnTo>
                    <a:pt x="193" y="439"/>
                  </a:lnTo>
                  <a:lnTo>
                    <a:pt x="211" y="439"/>
                  </a:lnTo>
                  <a:lnTo>
                    <a:pt x="228" y="457"/>
                  </a:lnTo>
                  <a:lnTo>
                    <a:pt x="281" y="562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50"/>
            <p:cNvSpPr>
              <a:spLocks/>
            </p:cNvSpPr>
            <p:nvPr/>
          </p:nvSpPr>
          <p:spPr bwMode="auto">
            <a:xfrm>
              <a:off x="3298282" y="3009064"/>
              <a:ext cx="106089" cy="85487"/>
            </a:xfrm>
            <a:custGeom>
              <a:avLst/>
              <a:gdLst>
                <a:gd name="T0" fmla="*/ 158 w 175"/>
                <a:gd name="T1" fmla="*/ 70 h 141"/>
                <a:gd name="T2" fmla="*/ 158 w 175"/>
                <a:gd name="T3" fmla="*/ 70 h 141"/>
                <a:gd name="T4" fmla="*/ 123 w 175"/>
                <a:gd name="T5" fmla="*/ 35 h 141"/>
                <a:gd name="T6" fmla="*/ 105 w 175"/>
                <a:gd name="T7" fmla="*/ 0 h 141"/>
                <a:gd name="T8" fmla="*/ 105 w 175"/>
                <a:gd name="T9" fmla="*/ 0 h 141"/>
                <a:gd name="T10" fmla="*/ 70 w 175"/>
                <a:gd name="T11" fmla="*/ 0 h 141"/>
                <a:gd name="T12" fmla="*/ 35 w 175"/>
                <a:gd name="T13" fmla="*/ 18 h 141"/>
                <a:gd name="T14" fmla="*/ 17 w 175"/>
                <a:gd name="T15" fmla="*/ 53 h 141"/>
                <a:gd name="T16" fmla="*/ 0 w 175"/>
                <a:gd name="T17" fmla="*/ 105 h 141"/>
                <a:gd name="T18" fmla="*/ 0 w 175"/>
                <a:gd name="T19" fmla="*/ 105 h 141"/>
                <a:gd name="T20" fmla="*/ 17 w 175"/>
                <a:gd name="T21" fmla="*/ 141 h 141"/>
                <a:gd name="T22" fmla="*/ 35 w 175"/>
                <a:gd name="T23" fmla="*/ 141 h 141"/>
                <a:gd name="T24" fmla="*/ 35 w 175"/>
                <a:gd name="T25" fmla="*/ 141 h 141"/>
                <a:gd name="T26" fmla="*/ 105 w 175"/>
                <a:gd name="T27" fmla="*/ 123 h 141"/>
                <a:gd name="T28" fmla="*/ 105 w 175"/>
                <a:gd name="T29" fmla="*/ 123 h 141"/>
                <a:gd name="T30" fmla="*/ 158 w 175"/>
                <a:gd name="T31" fmla="*/ 123 h 141"/>
                <a:gd name="T32" fmla="*/ 158 w 175"/>
                <a:gd name="T33" fmla="*/ 123 h 141"/>
                <a:gd name="T34" fmla="*/ 175 w 175"/>
                <a:gd name="T35" fmla="*/ 123 h 141"/>
                <a:gd name="T36" fmla="*/ 175 w 175"/>
                <a:gd name="T37" fmla="*/ 105 h 141"/>
                <a:gd name="T38" fmla="*/ 175 w 175"/>
                <a:gd name="T39" fmla="*/ 105 h 141"/>
                <a:gd name="T40" fmla="*/ 175 w 175"/>
                <a:gd name="T41" fmla="*/ 88 h 141"/>
                <a:gd name="T42" fmla="*/ 158 w 175"/>
                <a:gd name="T43" fmla="*/ 70 h 141"/>
                <a:gd name="T44" fmla="*/ 158 w 175"/>
                <a:gd name="T45" fmla="*/ 70 h 141"/>
                <a:gd name="T46" fmla="*/ 158 w 175"/>
                <a:gd name="T47" fmla="*/ 70 h 14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75"/>
                <a:gd name="T73" fmla="*/ 0 h 141"/>
                <a:gd name="T74" fmla="*/ 175 w 175"/>
                <a:gd name="T75" fmla="*/ 141 h 14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75" h="141">
                  <a:moveTo>
                    <a:pt x="158" y="70"/>
                  </a:moveTo>
                  <a:lnTo>
                    <a:pt x="158" y="70"/>
                  </a:lnTo>
                  <a:lnTo>
                    <a:pt x="123" y="35"/>
                  </a:lnTo>
                  <a:lnTo>
                    <a:pt x="105" y="0"/>
                  </a:lnTo>
                  <a:lnTo>
                    <a:pt x="70" y="0"/>
                  </a:lnTo>
                  <a:lnTo>
                    <a:pt x="35" y="18"/>
                  </a:lnTo>
                  <a:lnTo>
                    <a:pt x="17" y="53"/>
                  </a:lnTo>
                  <a:lnTo>
                    <a:pt x="0" y="105"/>
                  </a:lnTo>
                  <a:lnTo>
                    <a:pt x="17" y="141"/>
                  </a:lnTo>
                  <a:lnTo>
                    <a:pt x="35" y="141"/>
                  </a:lnTo>
                  <a:lnTo>
                    <a:pt x="105" y="123"/>
                  </a:lnTo>
                  <a:lnTo>
                    <a:pt x="158" y="123"/>
                  </a:lnTo>
                  <a:lnTo>
                    <a:pt x="175" y="123"/>
                  </a:lnTo>
                  <a:lnTo>
                    <a:pt x="175" y="105"/>
                  </a:lnTo>
                  <a:lnTo>
                    <a:pt x="175" y="88"/>
                  </a:lnTo>
                  <a:lnTo>
                    <a:pt x="158" y="70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51"/>
            <p:cNvSpPr>
              <a:spLocks/>
            </p:cNvSpPr>
            <p:nvPr/>
          </p:nvSpPr>
          <p:spPr bwMode="auto">
            <a:xfrm>
              <a:off x="2392588" y="3871820"/>
              <a:ext cx="575304" cy="681475"/>
            </a:xfrm>
            <a:custGeom>
              <a:avLst/>
              <a:gdLst>
                <a:gd name="T0" fmla="*/ 879 w 949"/>
                <a:gd name="T1" fmla="*/ 439 h 1124"/>
                <a:gd name="T2" fmla="*/ 949 w 949"/>
                <a:gd name="T3" fmla="*/ 527 h 1124"/>
                <a:gd name="T4" fmla="*/ 896 w 949"/>
                <a:gd name="T5" fmla="*/ 597 h 1124"/>
                <a:gd name="T6" fmla="*/ 844 w 949"/>
                <a:gd name="T7" fmla="*/ 667 h 1124"/>
                <a:gd name="T8" fmla="*/ 844 w 949"/>
                <a:gd name="T9" fmla="*/ 773 h 1124"/>
                <a:gd name="T10" fmla="*/ 808 w 949"/>
                <a:gd name="T11" fmla="*/ 790 h 1124"/>
                <a:gd name="T12" fmla="*/ 703 w 949"/>
                <a:gd name="T13" fmla="*/ 773 h 1124"/>
                <a:gd name="T14" fmla="*/ 633 w 949"/>
                <a:gd name="T15" fmla="*/ 720 h 1124"/>
                <a:gd name="T16" fmla="*/ 563 w 949"/>
                <a:gd name="T17" fmla="*/ 790 h 1124"/>
                <a:gd name="T18" fmla="*/ 510 w 949"/>
                <a:gd name="T19" fmla="*/ 878 h 1124"/>
                <a:gd name="T20" fmla="*/ 475 w 949"/>
                <a:gd name="T21" fmla="*/ 860 h 1124"/>
                <a:gd name="T22" fmla="*/ 422 w 949"/>
                <a:gd name="T23" fmla="*/ 878 h 1124"/>
                <a:gd name="T24" fmla="*/ 404 w 949"/>
                <a:gd name="T25" fmla="*/ 983 h 1124"/>
                <a:gd name="T26" fmla="*/ 352 w 949"/>
                <a:gd name="T27" fmla="*/ 1054 h 1124"/>
                <a:gd name="T28" fmla="*/ 352 w 949"/>
                <a:gd name="T29" fmla="*/ 1124 h 1124"/>
                <a:gd name="T30" fmla="*/ 264 w 949"/>
                <a:gd name="T31" fmla="*/ 966 h 1124"/>
                <a:gd name="T32" fmla="*/ 281 w 949"/>
                <a:gd name="T33" fmla="*/ 913 h 1124"/>
                <a:gd name="T34" fmla="*/ 264 w 949"/>
                <a:gd name="T35" fmla="*/ 860 h 1124"/>
                <a:gd name="T36" fmla="*/ 246 w 949"/>
                <a:gd name="T37" fmla="*/ 825 h 1124"/>
                <a:gd name="T38" fmla="*/ 229 w 949"/>
                <a:gd name="T39" fmla="*/ 773 h 1124"/>
                <a:gd name="T40" fmla="*/ 194 w 949"/>
                <a:gd name="T41" fmla="*/ 773 h 1124"/>
                <a:gd name="T42" fmla="*/ 141 w 949"/>
                <a:gd name="T43" fmla="*/ 737 h 1124"/>
                <a:gd name="T44" fmla="*/ 71 w 949"/>
                <a:gd name="T45" fmla="*/ 720 h 1124"/>
                <a:gd name="T46" fmla="*/ 0 w 949"/>
                <a:gd name="T47" fmla="*/ 667 h 1124"/>
                <a:gd name="T48" fmla="*/ 18 w 949"/>
                <a:gd name="T49" fmla="*/ 614 h 1124"/>
                <a:gd name="T50" fmla="*/ 71 w 949"/>
                <a:gd name="T51" fmla="*/ 579 h 1124"/>
                <a:gd name="T52" fmla="*/ 123 w 949"/>
                <a:gd name="T53" fmla="*/ 597 h 1124"/>
                <a:gd name="T54" fmla="*/ 176 w 949"/>
                <a:gd name="T55" fmla="*/ 579 h 1124"/>
                <a:gd name="T56" fmla="*/ 176 w 949"/>
                <a:gd name="T57" fmla="*/ 544 h 1124"/>
                <a:gd name="T58" fmla="*/ 123 w 949"/>
                <a:gd name="T59" fmla="*/ 421 h 1124"/>
                <a:gd name="T60" fmla="*/ 158 w 949"/>
                <a:gd name="T61" fmla="*/ 369 h 1124"/>
                <a:gd name="T62" fmla="*/ 299 w 949"/>
                <a:gd name="T63" fmla="*/ 369 h 1124"/>
                <a:gd name="T64" fmla="*/ 317 w 949"/>
                <a:gd name="T65" fmla="*/ 351 h 1124"/>
                <a:gd name="T66" fmla="*/ 352 w 949"/>
                <a:gd name="T67" fmla="*/ 123 h 1124"/>
                <a:gd name="T68" fmla="*/ 475 w 949"/>
                <a:gd name="T69" fmla="*/ 0 h 1124"/>
                <a:gd name="T70" fmla="*/ 510 w 949"/>
                <a:gd name="T71" fmla="*/ 0 h 1124"/>
                <a:gd name="T72" fmla="*/ 545 w 949"/>
                <a:gd name="T73" fmla="*/ 0 h 1124"/>
                <a:gd name="T74" fmla="*/ 563 w 949"/>
                <a:gd name="T75" fmla="*/ 88 h 1124"/>
                <a:gd name="T76" fmla="*/ 527 w 949"/>
                <a:gd name="T77" fmla="*/ 175 h 1124"/>
                <a:gd name="T78" fmla="*/ 492 w 949"/>
                <a:gd name="T79" fmla="*/ 263 h 1124"/>
                <a:gd name="T80" fmla="*/ 492 w 949"/>
                <a:gd name="T81" fmla="*/ 316 h 1124"/>
                <a:gd name="T82" fmla="*/ 475 w 949"/>
                <a:gd name="T83" fmla="*/ 386 h 1124"/>
                <a:gd name="T84" fmla="*/ 492 w 949"/>
                <a:gd name="T85" fmla="*/ 404 h 1124"/>
                <a:gd name="T86" fmla="*/ 527 w 949"/>
                <a:gd name="T87" fmla="*/ 456 h 1124"/>
                <a:gd name="T88" fmla="*/ 580 w 949"/>
                <a:gd name="T89" fmla="*/ 421 h 1124"/>
                <a:gd name="T90" fmla="*/ 633 w 949"/>
                <a:gd name="T91" fmla="*/ 386 h 1124"/>
                <a:gd name="T92" fmla="*/ 721 w 949"/>
                <a:gd name="T93" fmla="*/ 404 h 1124"/>
                <a:gd name="T94" fmla="*/ 738 w 949"/>
                <a:gd name="T95" fmla="*/ 421 h 1124"/>
                <a:gd name="T96" fmla="*/ 791 w 949"/>
                <a:gd name="T97" fmla="*/ 421 h 1124"/>
                <a:gd name="T98" fmla="*/ 861 w 949"/>
                <a:gd name="T99" fmla="*/ 404 h 112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949"/>
                <a:gd name="T151" fmla="*/ 0 h 1124"/>
                <a:gd name="T152" fmla="*/ 949 w 949"/>
                <a:gd name="T153" fmla="*/ 1124 h 112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949" h="1124">
                  <a:moveTo>
                    <a:pt x="861" y="404"/>
                  </a:moveTo>
                  <a:lnTo>
                    <a:pt x="861" y="404"/>
                  </a:lnTo>
                  <a:lnTo>
                    <a:pt x="879" y="439"/>
                  </a:lnTo>
                  <a:lnTo>
                    <a:pt x="896" y="456"/>
                  </a:lnTo>
                  <a:lnTo>
                    <a:pt x="931" y="492"/>
                  </a:lnTo>
                  <a:lnTo>
                    <a:pt x="949" y="527"/>
                  </a:lnTo>
                  <a:lnTo>
                    <a:pt x="931" y="562"/>
                  </a:lnTo>
                  <a:lnTo>
                    <a:pt x="896" y="597"/>
                  </a:lnTo>
                  <a:lnTo>
                    <a:pt x="861" y="614"/>
                  </a:lnTo>
                  <a:lnTo>
                    <a:pt x="844" y="667"/>
                  </a:lnTo>
                  <a:lnTo>
                    <a:pt x="844" y="755"/>
                  </a:lnTo>
                  <a:lnTo>
                    <a:pt x="844" y="773"/>
                  </a:lnTo>
                  <a:lnTo>
                    <a:pt x="808" y="790"/>
                  </a:lnTo>
                  <a:lnTo>
                    <a:pt x="791" y="825"/>
                  </a:lnTo>
                  <a:lnTo>
                    <a:pt x="703" y="773"/>
                  </a:lnTo>
                  <a:lnTo>
                    <a:pt x="668" y="737"/>
                  </a:lnTo>
                  <a:lnTo>
                    <a:pt x="633" y="720"/>
                  </a:lnTo>
                  <a:lnTo>
                    <a:pt x="598" y="737"/>
                  </a:lnTo>
                  <a:lnTo>
                    <a:pt x="580" y="755"/>
                  </a:lnTo>
                  <a:lnTo>
                    <a:pt x="563" y="790"/>
                  </a:lnTo>
                  <a:lnTo>
                    <a:pt x="545" y="843"/>
                  </a:lnTo>
                  <a:lnTo>
                    <a:pt x="527" y="860"/>
                  </a:lnTo>
                  <a:lnTo>
                    <a:pt x="510" y="878"/>
                  </a:lnTo>
                  <a:lnTo>
                    <a:pt x="492" y="860"/>
                  </a:lnTo>
                  <a:lnTo>
                    <a:pt x="475" y="860"/>
                  </a:lnTo>
                  <a:lnTo>
                    <a:pt x="422" y="878"/>
                  </a:lnTo>
                  <a:lnTo>
                    <a:pt x="404" y="966"/>
                  </a:lnTo>
                  <a:lnTo>
                    <a:pt x="404" y="983"/>
                  </a:lnTo>
                  <a:lnTo>
                    <a:pt x="369" y="1001"/>
                  </a:lnTo>
                  <a:lnTo>
                    <a:pt x="352" y="1018"/>
                  </a:lnTo>
                  <a:lnTo>
                    <a:pt x="352" y="1054"/>
                  </a:lnTo>
                  <a:lnTo>
                    <a:pt x="352" y="1124"/>
                  </a:lnTo>
                  <a:lnTo>
                    <a:pt x="317" y="1089"/>
                  </a:lnTo>
                  <a:lnTo>
                    <a:pt x="299" y="1054"/>
                  </a:lnTo>
                  <a:lnTo>
                    <a:pt x="264" y="966"/>
                  </a:lnTo>
                  <a:lnTo>
                    <a:pt x="281" y="931"/>
                  </a:lnTo>
                  <a:lnTo>
                    <a:pt x="281" y="913"/>
                  </a:lnTo>
                  <a:lnTo>
                    <a:pt x="264" y="860"/>
                  </a:lnTo>
                  <a:lnTo>
                    <a:pt x="264" y="825"/>
                  </a:lnTo>
                  <a:lnTo>
                    <a:pt x="246" y="825"/>
                  </a:lnTo>
                  <a:lnTo>
                    <a:pt x="246" y="808"/>
                  </a:lnTo>
                  <a:lnTo>
                    <a:pt x="229" y="773"/>
                  </a:lnTo>
                  <a:lnTo>
                    <a:pt x="211" y="773"/>
                  </a:lnTo>
                  <a:lnTo>
                    <a:pt x="194" y="773"/>
                  </a:lnTo>
                  <a:lnTo>
                    <a:pt x="176" y="737"/>
                  </a:lnTo>
                  <a:lnTo>
                    <a:pt x="141" y="737"/>
                  </a:lnTo>
                  <a:lnTo>
                    <a:pt x="88" y="720"/>
                  </a:lnTo>
                  <a:lnTo>
                    <a:pt x="71" y="720"/>
                  </a:lnTo>
                  <a:lnTo>
                    <a:pt x="35" y="685"/>
                  </a:lnTo>
                  <a:lnTo>
                    <a:pt x="0" y="667"/>
                  </a:lnTo>
                  <a:lnTo>
                    <a:pt x="0" y="650"/>
                  </a:lnTo>
                  <a:lnTo>
                    <a:pt x="18" y="614"/>
                  </a:lnTo>
                  <a:lnTo>
                    <a:pt x="53" y="579"/>
                  </a:lnTo>
                  <a:lnTo>
                    <a:pt x="71" y="579"/>
                  </a:lnTo>
                  <a:lnTo>
                    <a:pt x="88" y="597"/>
                  </a:lnTo>
                  <a:lnTo>
                    <a:pt x="123" y="597"/>
                  </a:lnTo>
                  <a:lnTo>
                    <a:pt x="141" y="579"/>
                  </a:lnTo>
                  <a:lnTo>
                    <a:pt x="176" y="579"/>
                  </a:lnTo>
                  <a:lnTo>
                    <a:pt x="176" y="544"/>
                  </a:lnTo>
                  <a:lnTo>
                    <a:pt x="88" y="439"/>
                  </a:lnTo>
                  <a:lnTo>
                    <a:pt x="123" y="421"/>
                  </a:lnTo>
                  <a:lnTo>
                    <a:pt x="141" y="386"/>
                  </a:lnTo>
                  <a:lnTo>
                    <a:pt x="158" y="369"/>
                  </a:lnTo>
                  <a:lnTo>
                    <a:pt x="246" y="386"/>
                  </a:lnTo>
                  <a:lnTo>
                    <a:pt x="299" y="369"/>
                  </a:lnTo>
                  <a:lnTo>
                    <a:pt x="317" y="351"/>
                  </a:lnTo>
                  <a:lnTo>
                    <a:pt x="317" y="281"/>
                  </a:lnTo>
                  <a:lnTo>
                    <a:pt x="334" y="228"/>
                  </a:lnTo>
                  <a:lnTo>
                    <a:pt x="352" y="123"/>
                  </a:lnTo>
                  <a:lnTo>
                    <a:pt x="422" y="52"/>
                  </a:lnTo>
                  <a:lnTo>
                    <a:pt x="475" y="0"/>
                  </a:lnTo>
                  <a:lnTo>
                    <a:pt x="492" y="0"/>
                  </a:lnTo>
                  <a:lnTo>
                    <a:pt x="510" y="0"/>
                  </a:lnTo>
                  <a:lnTo>
                    <a:pt x="527" y="0"/>
                  </a:lnTo>
                  <a:lnTo>
                    <a:pt x="545" y="0"/>
                  </a:lnTo>
                  <a:lnTo>
                    <a:pt x="563" y="35"/>
                  </a:lnTo>
                  <a:lnTo>
                    <a:pt x="563" y="52"/>
                  </a:lnTo>
                  <a:lnTo>
                    <a:pt x="563" y="88"/>
                  </a:lnTo>
                  <a:lnTo>
                    <a:pt x="545" y="123"/>
                  </a:lnTo>
                  <a:lnTo>
                    <a:pt x="527" y="175"/>
                  </a:lnTo>
                  <a:lnTo>
                    <a:pt x="510" y="246"/>
                  </a:lnTo>
                  <a:lnTo>
                    <a:pt x="492" y="263"/>
                  </a:lnTo>
                  <a:lnTo>
                    <a:pt x="475" y="298"/>
                  </a:lnTo>
                  <a:lnTo>
                    <a:pt x="492" y="316"/>
                  </a:lnTo>
                  <a:lnTo>
                    <a:pt x="510" y="316"/>
                  </a:lnTo>
                  <a:lnTo>
                    <a:pt x="475" y="386"/>
                  </a:lnTo>
                  <a:lnTo>
                    <a:pt x="492" y="404"/>
                  </a:lnTo>
                  <a:lnTo>
                    <a:pt x="510" y="421"/>
                  </a:lnTo>
                  <a:lnTo>
                    <a:pt x="510" y="439"/>
                  </a:lnTo>
                  <a:lnTo>
                    <a:pt x="527" y="456"/>
                  </a:lnTo>
                  <a:lnTo>
                    <a:pt x="545" y="439"/>
                  </a:lnTo>
                  <a:lnTo>
                    <a:pt x="580" y="421"/>
                  </a:lnTo>
                  <a:lnTo>
                    <a:pt x="598" y="404"/>
                  </a:lnTo>
                  <a:lnTo>
                    <a:pt x="633" y="386"/>
                  </a:lnTo>
                  <a:lnTo>
                    <a:pt x="685" y="404"/>
                  </a:lnTo>
                  <a:lnTo>
                    <a:pt x="721" y="404"/>
                  </a:lnTo>
                  <a:lnTo>
                    <a:pt x="738" y="386"/>
                  </a:lnTo>
                  <a:lnTo>
                    <a:pt x="738" y="421"/>
                  </a:lnTo>
                  <a:lnTo>
                    <a:pt x="756" y="439"/>
                  </a:lnTo>
                  <a:lnTo>
                    <a:pt x="791" y="421"/>
                  </a:lnTo>
                  <a:lnTo>
                    <a:pt x="826" y="404"/>
                  </a:lnTo>
                  <a:lnTo>
                    <a:pt x="861" y="404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52"/>
            <p:cNvSpPr>
              <a:spLocks/>
            </p:cNvSpPr>
            <p:nvPr/>
          </p:nvSpPr>
          <p:spPr bwMode="auto">
            <a:xfrm>
              <a:off x="4150022" y="4616956"/>
              <a:ext cx="926305" cy="692388"/>
            </a:xfrm>
            <a:custGeom>
              <a:avLst/>
              <a:gdLst>
                <a:gd name="T0" fmla="*/ 1001 w 1528"/>
                <a:gd name="T1" fmla="*/ 1054 h 1142"/>
                <a:gd name="T2" fmla="*/ 1089 w 1528"/>
                <a:gd name="T3" fmla="*/ 1036 h 1142"/>
                <a:gd name="T4" fmla="*/ 1160 w 1528"/>
                <a:gd name="T5" fmla="*/ 984 h 1142"/>
                <a:gd name="T6" fmla="*/ 1212 w 1528"/>
                <a:gd name="T7" fmla="*/ 966 h 1142"/>
                <a:gd name="T8" fmla="*/ 1247 w 1528"/>
                <a:gd name="T9" fmla="*/ 1001 h 1142"/>
                <a:gd name="T10" fmla="*/ 1318 w 1528"/>
                <a:gd name="T11" fmla="*/ 966 h 1142"/>
                <a:gd name="T12" fmla="*/ 1335 w 1528"/>
                <a:gd name="T13" fmla="*/ 984 h 1142"/>
                <a:gd name="T14" fmla="*/ 1370 w 1528"/>
                <a:gd name="T15" fmla="*/ 984 h 1142"/>
                <a:gd name="T16" fmla="*/ 1458 w 1528"/>
                <a:gd name="T17" fmla="*/ 949 h 1142"/>
                <a:gd name="T18" fmla="*/ 1458 w 1528"/>
                <a:gd name="T19" fmla="*/ 861 h 1142"/>
                <a:gd name="T20" fmla="*/ 1511 w 1528"/>
                <a:gd name="T21" fmla="*/ 791 h 1142"/>
                <a:gd name="T22" fmla="*/ 1511 w 1528"/>
                <a:gd name="T23" fmla="*/ 720 h 1142"/>
                <a:gd name="T24" fmla="*/ 1405 w 1528"/>
                <a:gd name="T25" fmla="*/ 668 h 1142"/>
                <a:gd name="T26" fmla="*/ 1388 w 1528"/>
                <a:gd name="T27" fmla="*/ 633 h 1142"/>
                <a:gd name="T28" fmla="*/ 1441 w 1528"/>
                <a:gd name="T29" fmla="*/ 510 h 1142"/>
                <a:gd name="T30" fmla="*/ 1441 w 1528"/>
                <a:gd name="T31" fmla="*/ 457 h 1142"/>
                <a:gd name="T32" fmla="*/ 1370 w 1528"/>
                <a:gd name="T33" fmla="*/ 422 h 1142"/>
                <a:gd name="T34" fmla="*/ 1300 w 1528"/>
                <a:gd name="T35" fmla="*/ 334 h 1142"/>
                <a:gd name="T36" fmla="*/ 1212 w 1528"/>
                <a:gd name="T37" fmla="*/ 281 h 1142"/>
                <a:gd name="T38" fmla="*/ 1089 w 1528"/>
                <a:gd name="T39" fmla="*/ 299 h 1142"/>
                <a:gd name="T40" fmla="*/ 1054 w 1528"/>
                <a:gd name="T41" fmla="*/ 246 h 1142"/>
                <a:gd name="T42" fmla="*/ 1054 w 1528"/>
                <a:gd name="T43" fmla="*/ 141 h 1142"/>
                <a:gd name="T44" fmla="*/ 1019 w 1528"/>
                <a:gd name="T45" fmla="*/ 88 h 1142"/>
                <a:gd name="T46" fmla="*/ 984 w 1528"/>
                <a:gd name="T47" fmla="*/ 53 h 1142"/>
                <a:gd name="T48" fmla="*/ 931 w 1528"/>
                <a:gd name="T49" fmla="*/ 35 h 1142"/>
                <a:gd name="T50" fmla="*/ 843 w 1528"/>
                <a:gd name="T51" fmla="*/ 106 h 1142"/>
                <a:gd name="T52" fmla="*/ 755 w 1528"/>
                <a:gd name="T53" fmla="*/ 106 h 1142"/>
                <a:gd name="T54" fmla="*/ 650 w 1528"/>
                <a:gd name="T55" fmla="*/ 53 h 1142"/>
                <a:gd name="T56" fmla="*/ 527 w 1528"/>
                <a:gd name="T57" fmla="*/ 18 h 1142"/>
                <a:gd name="T58" fmla="*/ 439 w 1528"/>
                <a:gd name="T59" fmla="*/ 18 h 1142"/>
                <a:gd name="T60" fmla="*/ 351 w 1528"/>
                <a:gd name="T61" fmla="*/ 0 h 1142"/>
                <a:gd name="T62" fmla="*/ 299 w 1528"/>
                <a:gd name="T63" fmla="*/ 18 h 1142"/>
                <a:gd name="T64" fmla="*/ 211 w 1528"/>
                <a:gd name="T65" fmla="*/ 193 h 1142"/>
                <a:gd name="T66" fmla="*/ 158 w 1528"/>
                <a:gd name="T67" fmla="*/ 229 h 1142"/>
                <a:gd name="T68" fmla="*/ 105 w 1528"/>
                <a:gd name="T69" fmla="*/ 281 h 1142"/>
                <a:gd name="T70" fmla="*/ 70 w 1528"/>
                <a:gd name="T71" fmla="*/ 387 h 1142"/>
                <a:gd name="T72" fmla="*/ 35 w 1528"/>
                <a:gd name="T73" fmla="*/ 404 h 1142"/>
                <a:gd name="T74" fmla="*/ 35 w 1528"/>
                <a:gd name="T75" fmla="*/ 439 h 1142"/>
                <a:gd name="T76" fmla="*/ 18 w 1528"/>
                <a:gd name="T77" fmla="*/ 474 h 1142"/>
                <a:gd name="T78" fmla="*/ 18 w 1528"/>
                <a:gd name="T79" fmla="*/ 545 h 1142"/>
                <a:gd name="T80" fmla="*/ 53 w 1528"/>
                <a:gd name="T81" fmla="*/ 668 h 1142"/>
                <a:gd name="T82" fmla="*/ 70 w 1528"/>
                <a:gd name="T83" fmla="*/ 703 h 1142"/>
                <a:gd name="T84" fmla="*/ 123 w 1528"/>
                <a:gd name="T85" fmla="*/ 720 h 1142"/>
                <a:gd name="T86" fmla="*/ 193 w 1528"/>
                <a:gd name="T87" fmla="*/ 738 h 1142"/>
                <a:gd name="T88" fmla="*/ 369 w 1528"/>
                <a:gd name="T89" fmla="*/ 791 h 1142"/>
                <a:gd name="T90" fmla="*/ 457 w 1528"/>
                <a:gd name="T91" fmla="*/ 843 h 1142"/>
                <a:gd name="T92" fmla="*/ 492 w 1528"/>
                <a:gd name="T93" fmla="*/ 931 h 1142"/>
                <a:gd name="T94" fmla="*/ 580 w 1528"/>
                <a:gd name="T95" fmla="*/ 931 h 1142"/>
                <a:gd name="T96" fmla="*/ 668 w 1528"/>
                <a:gd name="T97" fmla="*/ 984 h 1142"/>
                <a:gd name="T98" fmla="*/ 755 w 1528"/>
                <a:gd name="T99" fmla="*/ 984 h 1142"/>
                <a:gd name="T100" fmla="*/ 826 w 1528"/>
                <a:gd name="T101" fmla="*/ 984 h 1142"/>
                <a:gd name="T102" fmla="*/ 826 w 1528"/>
                <a:gd name="T103" fmla="*/ 1036 h 1142"/>
                <a:gd name="T104" fmla="*/ 843 w 1528"/>
                <a:gd name="T105" fmla="*/ 1089 h 1142"/>
                <a:gd name="T106" fmla="*/ 826 w 1528"/>
                <a:gd name="T107" fmla="*/ 1142 h 1142"/>
                <a:gd name="T108" fmla="*/ 861 w 1528"/>
                <a:gd name="T109" fmla="*/ 1142 h 1142"/>
                <a:gd name="T110" fmla="*/ 966 w 1528"/>
                <a:gd name="T111" fmla="*/ 1072 h 1142"/>
                <a:gd name="T112" fmla="*/ 966 w 1528"/>
                <a:gd name="T113" fmla="*/ 1072 h 11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528"/>
                <a:gd name="T172" fmla="*/ 0 h 1142"/>
                <a:gd name="T173" fmla="*/ 1528 w 1528"/>
                <a:gd name="T174" fmla="*/ 1142 h 11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528" h="1142">
                  <a:moveTo>
                    <a:pt x="966" y="1072"/>
                  </a:moveTo>
                  <a:lnTo>
                    <a:pt x="966" y="1072"/>
                  </a:lnTo>
                  <a:lnTo>
                    <a:pt x="1001" y="1054"/>
                  </a:lnTo>
                  <a:lnTo>
                    <a:pt x="1054" y="1054"/>
                  </a:lnTo>
                  <a:lnTo>
                    <a:pt x="1089" y="1036"/>
                  </a:lnTo>
                  <a:lnTo>
                    <a:pt x="1107" y="1019"/>
                  </a:lnTo>
                  <a:lnTo>
                    <a:pt x="1124" y="1001"/>
                  </a:lnTo>
                  <a:lnTo>
                    <a:pt x="1160" y="984"/>
                  </a:lnTo>
                  <a:lnTo>
                    <a:pt x="1212" y="966"/>
                  </a:lnTo>
                  <a:lnTo>
                    <a:pt x="1230" y="984"/>
                  </a:lnTo>
                  <a:lnTo>
                    <a:pt x="1247" y="1001"/>
                  </a:lnTo>
                  <a:lnTo>
                    <a:pt x="1283" y="1001"/>
                  </a:lnTo>
                  <a:lnTo>
                    <a:pt x="1283" y="966"/>
                  </a:lnTo>
                  <a:lnTo>
                    <a:pt x="1318" y="966"/>
                  </a:lnTo>
                  <a:lnTo>
                    <a:pt x="1335" y="984"/>
                  </a:lnTo>
                  <a:lnTo>
                    <a:pt x="1353" y="1001"/>
                  </a:lnTo>
                  <a:lnTo>
                    <a:pt x="1370" y="984"/>
                  </a:lnTo>
                  <a:lnTo>
                    <a:pt x="1388" y="966"/>
                  </a:lnTo>
                  <a:lnTo>
                    <a:pt x="1423" y="966"/>
                  </a:lnTo>
                  <a:lnTo>
                    <a:pt x="1458" y="949"/>
                  </a:lnTo>
                  <a:lnTo>
                    <a:pt x="1458" y="861"/>
                  </a:lnTo>
                  <a:lnTo>
                    <a:pt x="1458" y="826"/>
                  </a:lnTo>
                  <a:lnTo>
                    <a:pt x="1493" y="808"/>
                  </a:lnTo>
                  <a:lnTo>
                    <a:pt x="1511" y="791"/>
                  </a:lnTo>
                  <a:lnTo>
                    <a:pt x="1528" y="738"/>
                  </a:lnTo>
                  <a:lnTo>
                    <a:pt x="1511" y="720"/>
                  </a:lnTo>
                  <a:lnTo>
                    <a:pt x="1511" y="703"/>
                  </a:lnTo>
                  <a:lnTo>
                    <a:pt x="1458" y="685"/>
                  </a:lnTo>
                  <a:lnTo>
                    <a:pt x="1405" y="668"/>
                  </a:lnTo>
                  <a:lnTo>
                    <a:pt x="1388" y="650"/>
                  </a:lnTo>
                  <a:lnTo>
                    <a:pt x="1388" y="633"/>
                  </a:lnTo>
                  <a:lnTo>
                    <a:pt x="1405" y="580"/>
                  </a:lnTo>
                  <a:lnTo>
                    <a:pt x="1423" y="545"/>
                  </a:lnTo>
                  <a:lnTo>
                    <a:pt x="1441" y="510"/>
                  </a:lnTo>
                  <a:lnTo>
                    <a:pt x="1458" y="474"/>
                  </a:lnTo>
                  <a:lnTo>
                    <a:pt x="1441" y="457"/>
                  </a:lnTo>
                  <a:lnTo>
                    <a:pt x="1423" y="439"/>
                  </a:lnTo>
                  <a:lnTo>
                    <a:pt x="1370" y="422"/>
                  </a:lnTo>
                  <a:lnTo>
                    <a:pt x="1335" y="352"/>
                  </a:lnTo>
                  <a:lnTo>
                    <a:pt x="1300" y="334"/>
                  </a:lnTo>
                  <a:lnTo>
                    <a:pt x="1283" y="316"/>
                  </a:lnTo>
                  <a:lnTo>
                    <a:pt x="1247" y="281"/>
                  </a:lnTo>
                  <a:lnTo>
                    <a:pt x="1212" y="281"/>
                  </a:lnTo>
                  <a:lnTo>
                    <a:pt x="1089" y="299"/>
                  </a:lnTo>
                  <a:lnTo>
                    <a:pt x="1072" y="281"/>
                  </a:lnTo>
                  <a:lnTo>
                    <a:pt x="1054" y="246"/>
                  </a:lnTo>
                  <a:lnTo>
                    <a:pt x="1054" y="176"/>
                  </a:lnTo>
                  <a:lnTo>
                    <a:pt x="1054" y="141"/>
                  </a:lnTo>
                  <a:lnTo>
                    <a:pt x="1037" y="123"/>
                  </a:lnTo>
                  <a:lnTo>
                    <a:pt x="1037" y="106"/>
                  </a:lnTo>
                  <a:lnTo>
                    <a:pt x="1019" y="88"/>
                  </a:lnTo>
                  <a:lnTo>
                    <a:pt x="1001" y="70"/>
                  </a:lnTo>
                  <a:lnTo>
                    <a:pt x="984" y="53"/>
                  </a:lnTo>
                  <a:lnTo>
                    <a:pt x="966" y="53"/>
                  </a:lnTo>
                  <a:lnTo>
                    <a:pt x="931" y="35"/>
                  </a:lnTo>
                  <a:lnTo>
                    <a:pt x="896" y="53"/>
                  </a:lnTo>
                  <a:lnTo>
                    <a:pt x="861" y="70"/>
                  </a:lnTo>
                  <a:lnTo>
                    <a:pt x="843" y="106"/>
                  </a:lnTo>
                  <a:lnTo>
                    <a:pt x="808" y="106"/>
                  </a:lnTo>
                  <a:lnTo>
                    <a:pt x="755" y="106"/>
                  </a:lnTo>
                  <a:lnTo>
                    <a:pt x="738" y="88"/>
                  </a:lnTo>
                  <a:lnTo>
                    <a:pt x="703" y="70"/>
                  </a:lnTo>
                  <a:lnTo>
                    <a:pt x="650" y="53"/>
                  </a:lnTo>
                  <a:lnTo>
                    <a:pt x="580" y="53"/>
                  </a:lnTo>
                  <a:lnTo>
                    <a:pt x="527" y="18"/>
                  </a:lnTo>
                  <a:lnTo>
                    <a:pt x="439" y="18"/>
                  </a:lnTo>
                  <a:lnTo>
                    <a:pt x="404" y="0"/>
                  </a:lnTo>
                  <a:lnTo>
                    <a:pt x="351" y="0"/>
                  </a:lnTo>
                  <a:lnTo>
                    <a:pt x="316" y="0"/>
                  </a:lnTo>
                  <a:lnTo>
                    <a:pt x="299" y="18"/>
                  </a:lnTo>
                  <a:lnTo>
                    <a:pt x="264" y="70"/>
                  </a:lnTo>
                  <a:lnTo>
                    <a:pt x="246" y="141"/>
                  </a:lnTo>
                  <a:lnTo>
                    <a:pt x="211" y="193"/>
                  </a:lnTo>
                  <a:lnTo>
                    <a:pt x="193" y="229"/>
                  </a:lnTo>
                  <a:lnTo>
                    <a:pt x="158" y="229"/>
                  </a:lnTo>
                  <a:lnTo>
                    <a:pt x="141" y="246"/>
                  </a:lnTo>
                  <a:lnTo>
                    <a:pt x="105" y="281"/>
                  </a:lnTo>
                  <a:lnTo>
                    <a:pt x="88" y="316"/>
                  </a:lnTo>
                  <a:lnTo>
                    <a:pt x="70" y="387"/>
                  </a:lnTo>
                  <a:lnTo>
                    <a:pt x="35" y="369"/>
                  </a:lnTo>
                  <a:lnTo>
                    <a:pt x="35" y="404"/>
                  </a:lnTo>
                  <a:lnTo>
                    <a:pt x="53" y="422"/>
                  </a:lnTo>
                  <a:lnTo>
                    <a:pt x="35" y="439"/>
                  </a:lnTo>
                  <a:lnTo>
                    <a:pt x="18" y="457"/>
                  </a:lnTo>
                  <a:lnTo>
                    <a:pt x="18" y="474"/>
                  </a:lnTo>
                  <a:lnTo>
                    <a:pt x="0" y="492"/>
                  </a:lnTo>
                  <a:lnTo>
                    <a:pt x="18" y="545"/>
                  </a:lnTo>
                  <a:lnTo>
                    <a:pt x="53" y="580"/>
                  </a:lnTo>
                  <a:lnTo>
                    <a:pt x="53" y="668"/>
                  </a:lnTo>
                  <a:lnTo>
                    <a:pt x="70" y="703"/>
                  </a:lnTo>
                  <a:lnTo>
                    <a:pt x="123" y="720"/>
                  </a:lnTo>
                  <a:lnTo>
                    <a:pt x="141" y="738"/>
                  </a:lnTo>
                  <a:lnTo>
                    <a:pt x="193" y="738"/>
                  </a:lnTo>
                  <a:lnTo>
                    <a:pt x="264" y="755"/>
                  </a:lnTo>
                  <a:lnTo>
                    <a:pt x="369" y="791"/>
                  </a:lnTo>
                  <a:lnTo>
                    <a:pt x="439" y="826"/>
                  </a:lnTo>
                  <a:lnTo>
                    <a:pt x="457" y="843"/>
                  </a:lnTo>
                  <a:lnTo>
                    <a:pt x="474" y="878"/>
                  </a:lnTo>
                  <a:lnTo>
                    <a:pt x="474" y="914"/>
                  </a:lnTo>
                  <a:lnTo>
                    <a:pt x="492" y="931"/>
                  </a:lnTo>
                  <a:lnTo>
                    <a:pt x="527" y="931"/>
                  </a:lnTo>
                  <a:lnTo>
                    <a:pt x="580" y="931"/>
                  </a:lnTo>
                  <a:lnTo>
                    <a:pt x="650" y="966"/>
                  </a:lnTo>
                  <a:lnTo>
                    <a:pt x="668" y="984"/>
                  </a:lnTo>
                  <a:lnTo>
                    <a:pt x="720" y="1001"/>
                  </a:lnTo>
                  <a:lnTo>
                    <a:pt x="755" y="984"/>
                  </a:lnTo>
                  <a:lnTo>
                    <a:pt x="808" y="966"/>
                  </a:lnTo>
                  <a:lnTo>
                    <a:pt x="826" y="984"/>
                  </a:lnTo>
                  <a:lnTo>
                    <a:pt x="826" y="1001"/>
                  </a:lnTo>
                  <a:lnTo>
                    <a:pt x="826" y="1036"/>
                  </a:lnTo>
                  <a:lnTo>
                    <a:pt x="826" y="1072"/>
                  </a:lnTo>
                  <a:lnTo>
                    <a:pt x="843" y="1089"/>
                  </a:lnTo>
                  <a:lnTo>
                    <a:pt x="826" y="1142"/>
                  </a:lnTo>
                  <a:lnTo>
                    <a:pt x="861" y="1142"/>
                  </a:lnTo>
                  <a:lnTo>
                    <a:pt x="878" y="1124"/>
                  </a:lnTo>
                  <a:lnTo>
                    <a:pt x="896" y="1089"/>
                  </a:lnTo>
                  <a:lnTo>
                    <a:pt x="966" y="1072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53"/>
            <p:cNvSpPr>
              <a:spLocks/>
            </p:cNvSpPr>
            <p:nvPr/>
          </p:nvSpPr>
          <p:spPr bwMode="auto">
            <a:xfrm>
              <a:off x="890979" y="3094551"/>
              <a:ext cx="160042" cy="180676"/>
            </a:xfrm>
            <a:custGeom>
              <a:avLst/>
              <a:gdLst>
                <a:gd name="T0" fmla="*/ 264 w 264"/>
                <a:gd name="T1" fmla="*/ 193 h 298"/>
                <a:gd name="T2" fmla="*/ 264 w 264"/>
                <a:gd name="T3" fmla="*/ 193 h 298"/>
                <a:gd name="T4" fmla="*/ 246 w 264"/>
                <a:gd name="T5" fmla="*/ 228 h 298"/>
                <a:gd name="T6" fmla="*/ 229 w 264"/>
                <a:gd name="T7" fmla="*/ 263 h 298"/>
                <a:gd name="T8" fmla="*/ 176 w 264"/>
                <a:gd name="T9" fmla="*/ 281 h 298"/>
                <a:gd name="T10" fmla="*/ 176 w 264"/>
                <a:gd name="T11" fmla="*/ 281 h 298"/>
                <a:gd name="T12" fmla="*/ 158 w 264"/>
                <a:gd name="T13" fmla="*/ 298 h 298"/>
                <a:gd name="T14" fmla="*/ 158 w 264"/>
                <a:gd name="T15" fmla="*/ 298 h 298"/>
                <a:gd name="T16" fmla="*/ 158 w 264"/>
                <a:gd name="T17" fmla="*/ 298 h 298"/>
                <a:gd name="T18" fmla="*/ 88 w 264"/>
                <a:gd name="T19" fmla="*/ 193 h 298"/>
                <a:gd name="T20" fmla="*/ 35 w 264"/>
                <a:gd name="T21" fmla="*/ 123 h 298"/>
                <a:gd name="T22" fmla="*/ 18 w 264"/>
                <a:gd name="T23" fmla="*/ 70 h 298"/>
                <a:gd name="T24" fmla="*/ 18 w 264"/>
                <a:gd name="T25" fmla="*/ 70 h 298"/>
                <a:gd name="T26" fmla="*/ 0 w 264"/>
                <a:gd name="T27" fmla="*/ 35 h 298"/>
                <a:gd name="T28" fmla="*/ 18 w 264"/>
                <a:gd name="T29" fmla="*/ 17 h 298"/>
                <a:gd name="T30" fmla="*/ 53 w 264"/>
                <a:gd name="T31" fmla="*/ 0 h 298"/>
                <a:gd name="T32" fmla="*/ 53 w 264"/>
                <a:gd name="T33" fmla="*/ 0 h 298"/>
                <a:gd name="T34" fmla="*/ 71 w 264"/>
                <a:gd name="T35" fmla="*/ 0 h 298"/>
                <a:gd name="T36" fmla="*/ 106 w 264"/>
                <a:gd name="T37" fmla="*/ 0 h 298"/>
                <a:gd name="T38" fmla="*/ 123 w 264"/>
                <a:gd name="T39" fmla="*/ 17 h 298"/>
                <a:gd name="T40" fmla="*/ 194 w 264"/>
                <a:gd name="T41" fmla="*/ 17 h 298"/>
                <a:gd name="T42" fmla="*/ 194 w 264"/>
                <a:gd name="T43" fmla="*/ 17 h 298"/>
                <a:gd name="T44" fmla="*/ 229 w 264"/>
                <a:gd name="T45" fmla="*/ 87 h 298"/>
                <a:gd name="T46" fmla="*/ 229 w 264"/>
                <a:gd name="T47" fmla="*/ 87 h 298"/>
                <a:gd name="T48" fmla="*/ 246 w 264"/>
                <a:gd name="T49" fmla="*/ 140 h 298"/>
                <a:gd name="T50" fmla="*/ 264 w 264"/>
                <a:gd name="T51" fmla="*/ 193 h 298"/>
                <a:gd name="T52" fmla="*/ 264 w 264"/>
                <a:gd name="T53" fmla="*/ 193 h 298"/>
                <a:gd name="T54" fmla="*/ 264 w 264"/>
                <a:gd name="T55" fmla="*/ 193 h 29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64"/>
                <a:gd name="T85" fmla="*/ 0 h 298"/>
                <a:gd name="T86" fmla="*/ 264 w 264"/>
                <a:gd name="T87" fmla="*/ 298 h 29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64" h="298">
                  <a:moveTo>
                    <a:pt x="264" y="193"/>
                  </a:moveTo>
                  <a:lnTo>
                    <a:pt x="264" y="193"/>
                  </a:lnTo>
                  <a:lnTo>
                    <a:pt x="246" y="228"/>
                  </a:lnTo>
                  <a:lnTo>
                    <a:pt x="229" y="263"/>
                  </a:lnTo>
                  <a:lnTo>
                    <a:pt x="176" y="281"/>
                  </a:lnTo>
                  <a:lnTo>
                    <a:pt x="158" y="298"/>
                  </a:lnTo>
                  <a:lnTo>
                    <a:pt x="88" y="193"/>
                  </a:lnTo>
                  <a:lnTo>
                    <a:pt x="35" y="123"/>
                  </a:lnTo>
                  <a:lnTo>
                    <a:pt x="18" y="70"/>
                  </a:lnTo>
                  <a:lnTo>
                    <a:pt x="0" y="35"/>
                  </a:lnTo>
                  <a:lnTo>
                    <a:pt x="18" y="17"/>
                  </a:lnTo>
                  <a:lnTo>
                    <a:pt x="53" y="0"/>
                  </a:lnTo>
                  <a:lnTo>
                    <a:pt x="71" y="0"/>
                  </a:lnTo>
                  <a:lnTo>
                    <a:pt x="106" y="0"/>
                  </a:lnTo>
                  <a:lnTo>
                    <a:pt x="123" y="17"/>
                  </a:lnTo>
                  <a:lnTo>
                    <a:pt x="194" y="17"/>
                  </a:lnTo>
                  <a:lnTo>
                    <a:pt x="229" y="87"/>
                  </a:lnTo>
                  <a:lnTo>
                    <a:pt x="246" y="140"/>
                  </a:lnTo>
                  <a:lnTo>
                    <a:pt x="264" y="193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54"/>
            <p:cNvSpPr>
              <a:spLocks/>
            </p:cNvSpPr>
            <p:nvPr/>
          </p:nvSpPr>
          <p:spPr bwMode="auto">
            <a:xfrm>
              <a:off x="1242588" y="4159204"/>
              <a:ext cx="277043" cy="255856"/>
            </a:xfrm>
            <a:custGeom>
              <a:avLst/>
              <a:gdLst>
                <a:gd name="T0" fmla="*/ 439 w 457"/>
                <a:gd name="T1" fmla="*/ 299 h 422"/>
                <a:gd name="T2" fmla="*/ 439 w 457"/>
                <a:gd name="T3" fmla="*/ 299 h 422"/>
                <a:gd name="T4" fmla="*/ 439 w 457"/>
                <a:gd name="T5" fmla="*/ 334 h 422"/>
                <a:gd name="T6" fmla="*/ 439 w 457"/>
                <a:gd name="T7" fmla="*/ 334 h 422"/>
                <a:gd name="T8" fmla="*/ 457 w 457"/>
                <a:gd name="T9" fmla="*/ 351 h 422"/>
                <a:gd name="T10" fmla="*/ 457 w 457"/>
                <a:gd name="T11" fmla="*/ 351 h 422"/>
                <a:gd name="T12" fmla="*/ 422 w 457"/>
                <a:gd name="T13" fmla="*/ 422 h 422"/>
                <a:gd name="T14" fmla="*/ 422 w 457"/>
                <a:gd name="T15" fmla="*/ 422 h 422"/>
                <a:gd name="T16" fmla="*/ 334 w 457"/>
                <a:gd name="T17" fmla="*/ 386 h 422"/>
                <a:gd name="T18" fmla="*/ 228 w 457"/>
                <a:gd name="T19" fmla="*/ 351 h 422"/>
                <a:gd name="T20" fmla="*/ 228 w 457"/>
                <a:gd name="T21" fmla="*/ 351 h 422"/>
                <a:gd name="T22" fmla="*/ 211 w 457"/>
                <a:gd name="T23" fmla="*/ 334 h 422"/>
                <a:gd name="T24" fmla="*/ 193 w 457"/>
                <a:gd name="T25" fmla="*/ 299 h 422"/>
                <a:gd name="T26" fmla="*/ 176 w 457"/>
                <a:gd name="T27" fmla="*/ 281 h 422"/>
                <a:gd name="T28" fmla="*/ 141 w 457"/>
                <a:gd name="T29" fmla="*/ 263 h 422"/>
                <a:gd name="T30" fmla="*/ 141 w 457"/>
                <a:gd name="T31" fmla="*/ 263 h 422"/>
                <a:gd name="T32" fmla="*/ 105 w 457"/>
                <a:gd name="T33" fmla="*/ 263 h 422"/>
                <a:gd name="T34" fmla="*/ 105 w 457"/>
                <a:gd name="T35" fmla="*/ 263 h 422"/>
                <a:gd name="T36" fmla="*/ 88 w 457"/>
                <a:gd name="T37" fmla="*/ 263 h 422"/>
                <a:gd name="T38" fmla="*/ 70 w 457"/>
                <a:gd name="T39" fmla="*/ 246 h 422"/>
                <a:gd name="T40" fmla="*/ 70 w 457"/>
                <a:gd name="T41" fmla="*/ 246 h 422"/>
                <a:gd name="T42" fmla="*/ 70 w 457"/>
                <a:gd name="T43" fmla="*/ 211 h 422"/>
                <a:gd name="T44" fmla="*/ 53 w 457"/>
                <a:gd name="T45" fmla="*/ 176 h 422"/>
                <a:gd name="T46" fmla="*/ 53 w 457"/>
                <a:gd name="T47" fmla="*/ 176 h 422"/>
                <a:gd name="T48" fmla="*/ 35 w 457"/>
                <a:gd name="T49" fmla="*/ 140 h 422"/>
                <a:gd name="T50" fmla="*/ 18 w 457"/>
                <a:gd name="T51" fmla="*/ 123 h 422"/>
                <a:gd name="T52" fmla="*/ 0 w 457"/>
                <a:gd name="T53" fmla="*/ 105 h 422"/>
                <a:gd name="T54" fmla="*/ 0 w 457"/>
                <a:gd name="T55" fmla="*/ 105 h 422"/>
                <a:gd name="T56" fmla="*/ 35 w 457"/>
                <a:gd name="T57" fmla="*/ 70 h 422"/>
                <a:gd name="T58" fmla="*/ 70 w 457"/>
                <a:gd name="T59" fmla="*/ 35 h 422"/>
                <a:gd name="T60" fmla="*/ 70 w 457"/>
                <a:gd name="T61" fmla="*/ 35 h 422"/>
                <a:gd name="T62" fmla="*/ 88 w 457"/>
                <a:gd name="T63" fmla="*/ 53 h 422"/>
                <a:gd name="T64" fmla="*/ 88 w 457"/>
                <a:gd name="T65" fmla="*/ 53 h 422"/>
                <a:gd name="T66" fmla="*/ 105 w 457"/>
                <a:gd name="T67" fmla="*/ 35 h 422"/>
                <a:gd name="T68" fmla="*/ 141 w 457"/>
                <a:gd name="T69" fmla="*/ 0 h 422"/>
                <a:gd name="T70" fmla="*/ 141 w 457"/>
                <a:gd name="T71" fmla="*/ 0 h 422"/>
                <a:gd name="T72" fmla="*/ 158 w 457"/>
                <a:gd name="T73" fmla="*/ 0 h 422"/>
                <a:gd name="T74" fmla="*/ 158 w 457"/>
                <a:gd name="T75" fmla="*/ 0 h 422"/>
                <a:gd name="T76" fmla="*/ 228 w 457"/>
                <a:gd name="T77" fmla="*/ 0 h 422"/>
                <a:gd name="T78" fmla="*/ 228 w 457"/>
                <a:gd name="T79" fmla="*/ 0 h 422"/>
                <a:gd name="T80" fmla="*/ 264 w 457"/>
                <a:gd name="T81" fmla="*/ 0 h 422"/>
                <a:gd name="T82" fmla="*/ 281 w 457"/>
                <a:gd name="T83" fmla="*/ 18 h 422"/>
                <a:gd name="T84" fmla="*/ 299 w 457"/>
                <a:gd name="T85" fmla="*/ 88 h 422"/>
                <a:gd name="T86" fmla="*/ 299 w 457"/>
                <a:gd name="T87" fmla="*/ 88 h 422"/>
                <a:gd name="T88" fmla="*/ 334 w 457"/>
                <a:gd name="T89" fmla="*/ 105 h 422"/>
                <a:gd name="T90" fmla="*/ 369 w 457"/>
                <a:gd name="T91" fmla="*/ 123 h 422"/>
                <a:gd name="T92" fmla="*/ 369 w 457"/>
                <a:gd name="T93" fmla="*/ 123 h 422"/>
                <a:gd name="T94" fmla="*/ 369 w 457"/>
                <a:gd name="T95" fmla="*/ 176 h 422"/>
                <a:gd name="T96" fmla="*/ 387 w 457"/>
                <a:gd name="T97" fmla="*/ 211 h 422"/>
                <a:gd name="T98" fmla="*/ 404 w 457"/>
                <a:gd name="T99" fmla="*/ 263 h 422"/>
                <a:gd name="T100" fmla="*/ 422 w 457"/>
                <a:gd name="T101" fmla="*/ 299 h 422"/>
                <a:gd name="T102" fmla="*/ 422 w 457"/>
                <a:gd name="T103" fmla="*/ 299 h 422"/>
                <a:gd name="T104" fmla="*/ 439 w 457"/>
                <a:gd name="T105" fmla="*/ 299 h 422"/>
                <a:gd name="T106" fmla="*/ 439 w 457"/>
                <a:gd name="T107" fmla="*/ 299 h 42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57"/>
                <a:gd name="T163" fmla="*/ 0 h 422"/>
                <a:gd name="T164" fmla="*/ 457 w 457"/>
                <a:gd name="T165" fmla="*/ 422 h 42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57" h="422">
                  <a:moveTo>
                    <a:pt x="439" y="299"/>
                  </a:moveTo>
                  <a:lnTo>
                    <a:pt x="439" y="299"/>
                  </a:lnTo>
                  <a:lnTo>
                    <a:pt x="439" y="334"/>
                  </a:lnTo>
                  <a:lnTo>
                    <a:pt x="457" y="351"/>
                  </a:lnTo>
                  <a:lnTo>
                    <a:pt x="422" y="422"/>
                  </a:lnTo>
                  <a:lnTo>
                    <a:pt x="334" y="386"/>
                  </a:lnTo>
                  <a:lnTo>
                    <a:pt x="228" y="351"/>
                  </a:lnTo>
                  <a:lnTo>
                    <a:pt x="211" y="334"/>
                  </a:lnTo>
                  <a:lnTo>
                    <a:pt x="193" y="299"/>
                  </a:lnTo>
                  <a:lnTo>
                    <a:pt x="176" y="281"/>
                  </a:lnTo>
                  <a:lnTo>
                    <a:pt x="141" y="263"/>
                  </a:lnTo>
                  <a:lnTo>
                    <a:pt x="105" y="263"/>
                  </a:lnTo>
                  <a:lnTo>
                    <a:pt x="88" y="263"/>
                  </a:lnTo>
                  <a:lnTo>
                    <a:pt x="70" y="246"/>
                  </a:lnTo>
                  <a:lnTo>
                    <a:pt x="70" y="211"/>
                  </a:lnTo>
                  <a:lnTo>
                    <a:pt x="53" y="176"/>
                  </a:lnTo>
                  <a:lnTo>
                    <a:pt x="35" y="140"/>
                  </a:lnTo>
                  <a:lnTo>
                    <a:pt x="18" y="123"/>
                  </a:lnTo>
                  <a:lnTo>
                    <a:pt x="0" y="105"/>
                  </a:lnTo>
                  <a:lnTo>
                    <a:pt x="35" y="70"/>
                  </a:lnTo>
                  <a:lnTo>
                    <a:pt x="70" y="35"/>
                  </a:lnTo>
                  <a:lnTo>
                    <a:pt x="88" y="53"/>
                  </a:lnTo>
                  <a:lnTo>
                    <a:pt x="105" y="35"/>
                  </a:lnTo>
                  <a:lnTo>
                    <a:pt x="141" y="0"/>
                  </a:lnTo>
                  <a:lnTo>
                    <a:pt x="158" y="0"/>
                  </a:lnTo>
                  <a:lnTo>
                    <a:pt x="228" y="0"/>
                  </a:lnTo>
                  <a:lnTo>
                    <a:pt x="264" y="0"/>
                  </a:lnTo>
                  <a:lnTo>
                    <a:pt x="281" y="18"/>
                  </a:lnTo>
                  <a:lnTo>
                    <a:pt x="299" y="88"/>
                  </a:lnTo>
                  <a:lnTo>
                    <a:pt x="334" y="105"/>
                  </a:lnTo>
                  <a:lnTo>
                    <a:pt x="369" y="123"/>
                  </a:lnTo>
                  <a:lnTo>
                    <a:pt x="369" y="176"/>
                  </a:lnTo>
                  <a:lnTo>
                    <a:pt x="387" y="211"/>
                  </a:lnTo>
                  <a:lnTo>
                    <a:pt x="404" y="263"/>
                  </a:lnTo>
                  <a:lnTo>
                    <a:pt x="422" y="299"/>
                  </a:lnTo>
                  <a:lnTo>
                    <a:pt x="439" y="299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55"/>
            <p:cNvSpPr>
              <a:spLocks/>
            </p:cNvSpPr>
            <p:nvPr/>
          </p:nvSpPr>
          <p:spPr bwMode="auto">
            <a:xfrm>
              <a:off x="3766891" y="3126079"/>
              <a:ext cx="74565" cy="106708"/>
            </a:xfrm>
            <a:custGeom>
              <a:avLst/>
              <a:gdLst>
                <a:gd name="T0" fmla="*/ 87 w 123"/>
                <a:gd name="T1" fmla="*/ 71 h 176"/>
                <a:gd name="T2" fmla="*/ 87 w 123"/>
                <a:gd name="T3" fmla="*/ 71 h 176"/>
                <a:gd name="T4" fmla="*/ 87 w 123"/>
                <a:gd name="T5" fmla="*/ 53 h 176"/>
                <a:gd name="T6" fmla="*/ 87 w 123"/>
                <a:gd name="T7" fmla="*/ 35 h 176"/>
                <a:gd name="T8" fmla="*/ 87 w 123"/>
                <a:gd name="T9" fmla="*/ 35 h 176"/>
                <a:gd name="T10" fmla="*/ 70 w 123"/>
                <a:gd name="T11" fmla="*/ 18 h 176"/>
                <a:gd name="T12" fmla="*/ 52 w 123"/>
                <a:gd name="T13" fmla="*/ 0 h 176"/>
                <a:gd name="T14" fmla="*/ 52 w 123"/>
                <a:gd name="T15" fmla="*/ 0 h 176"/>
                <a:gd name="T16" fmla="*/ 17 w 123"/>
                <a:gd name="T17" fmla="*/ 35 h 176"/>
                <a:gd name="T18" fmla="*/ 17 w 123"/>
                <a:gd name="T19" fmla="*/ 53 h 176"/>
                <a:gd name="T20" fmla="*/ 0 w 123"/>
                <a:gd name="T21" fmla="*/ 71 h 176"/>
                <a:gd name="T22" fmla="*/ 0 w 123"/>
                <a:gd name="T23" fmla="*/ 71 h 176"/>
                <a:gd name="T24" fmla="*/ 87 w 123"/>
                <a:gd name="T25" fmla="*/ 176 h 176"/>
                <a:gd name="T26" fmla="*/ 87 w 123"/>
                <a:gd name="T27" fmla="*/ 176 h 176"/>
                <a:gd name="T28" fmla="*/ 123 w 123"/>
                <a:gd name="T29" fmla="*/ 158 h 176"/>
                <a:gd name="T30" fmla="*/ 123 w 123"/>
                <a:gd name="T31" fmla="*/ 123 h 176"/>
                <a:gd name="T32" fmla="*/ 123 w 123"/>
                <a:gd name="T33" fmla="*/ 123 h 176"/>
                <a:gd name="T34" fmla="*/ 123 w 123"/>
                <a:gd name="T35" fmla="*/ 106 h 176"/>
                <a:gd name="T36" fmla="*/ 87 w 123"/>
                <a:gd name="T37" fmla="*/ 71 h 176"/>
                <a:gd name="T38" fmla="*/ 87 w 123"/>
                <a:gd name="T39" fmla="*/ 71 h 176"/>
                <a:gd name="T40" fmla="*/ 87 w 123"/>
                <a:gd name="T41" fmla="*/ 71 h 17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23"/>
                <a:gd name="T64" fmla="*/ 0 h 176"/>
                <a:gd name="T65" fmla="*/ 123 w 123"/>
                <a:gd name="T66" fmla="*/ 176 h 17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23" h="176">
                  <a:moveTo>
                    <a:pt x="87" y="71"/>
                  </a:moveTo>
                  <a:lnTo>
                    <a:pt x="87" y="71"/>
                  </a:lnTo>
                  <a:lnTo>
                    <a:pt x="87" y="53"/>
                  </a:lnTo>
                  <a:lnTo>
                    <a:pt x="87" y="35"/>
                  </a:lnTo>
                  <a:lnTo>
                    <a:pt x="70" y="18"/>
                  </a:lnTo>
                  <a:lnTo>
                    <a:pt x="52" y="0"/>
                  </a:lnTo>
                  <a:lnTo>
                    <a:pt x="17" y="35"/>
                  </a:lnTo>
                  <a:lnTo>
                    <a:pt x="17" y="53"/>
                  </a:lnTo>
                  <a:lnTo>
                    <a:pt x="0" y="71"/>
                  </a:lnTo>
                  <a:lnTo>
                    <a:pt x="87" y="176"/>
                  </a:lnTo>
                  <a:lnTo>
                    <a:pt x="123" y="158"/>
                  </a:lnTo>
                  <a:lnTo>
                    <a:pt x="123" y="123"/>
                  </a:lnTo>
                  <a:lnTo>
                    <a:pt x="123" y="106"/>
                  </a:lnTo>
                  <a:lnTo>
                    <a:pt x="87" y="71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56"/>
            <p:cNvSpPr>
              <a:spLocks/>
            </p:cNvSpPr>
            <p:nvPr/>
          </p:nvSpPr>
          <p:spPr bwMode="auto">
            <a:xfrm>
              <a:off x="3596543" y="2881136"/>
              <a:ext cx="31523" cy="64267"/>
            </a:xfrm>
            <a:custGeom>
              <a:avLst/>
              <a:gdLst>
                <a:gd name="T0" fmla="*/ 0 w 52"/>
                <a:gd name="T1" fmla="*/ 18 h 106"/>
                <a:gd name="T2" fmla="*/ 0 w 52"/>
                <a:gd name="T3" fmla="*/ 18 h 106"/>
                <a:gd name="T4" fmla="*/ 0 w 52"/>
                <a:gd name="T5" fmla="*/ 0 h 106"/>
                <a:gd name="T6" fmla="*/ 17 w 52"/>
                <a:gd name="T7" fmla="*/ 0 h 106"/>
                <a:gd name="T8" fmla="*/ 17 w 52"/>
                <a:gd name="T9" fmla="*/ 0 h 106"/>
                <a:gd name="T10" fmla="*/ 52 w 52"/>
                <a:gd name="T11" fmla="*/ 18 h 106"/>
                <a:gd name="T12" fmla="*/ 52 w 52"/>
                <a:gd name="T13" fmla="*/ 53 h 106"/>
                <a:gd name="T14" fmla="*/ 52 w 52"/>
                <a:gd name="T15" fmla="*/ 53 h 106"/>
                <a:gd name="T16" fmla="*/ 52 w 52"/>
                <a:gd name="T17" fmla="*/ 106 h 106"/>
                <a:gd name="T18" fmla="*/ 52 w 52"/>
                <a:gd name="T19" fmla="*/ 106 h 106"/>
                <a:gd name="T20" fmla="*/ 52 w 52"/>
                <a:gd name="T21" fmla="*/ 106 h 106"/>
                <a:gd name="T22" fmla="*/ 35 w 52"/>
                <a:gd name="T23" fmla="*/ 106 h 106"/>
                <a:gd name="T24" fmla="*/ 35 w 52"/>
                <a:gd name="T25" fmla="*/ 106 h 106"/>
                <a:gd name="T26" fmla="*/ 17 w 52"/>
                <a:gd name="T27" fmla="*/ 106 h 106"/>
                <a:gd name="T28" fmla="*/ 17 w 52"/>
                <a:gd name="T29" fmla="*/ 88 h 106"/>
                <a:gd name="T30" fmla="*/ 17 w 52"/>
                <a:gd name="T31" fmla="*/ 88 h 106"/>
                <a:gd name="T32" fmla="*/ 17 w 52"/>
                <a:gd name="T33" fmla="*/ 53 h 106"/>
                <a:gd name="T34" fmla="*/ 0 w 52"/>
                <a:gd name="T35" fmla="*/ 18 h 106"/>
                <a:gd name="T36" fmla="*/ 0 w 52"/>
                <a:gd name="T37" fmla="*/ 18 h 106"/>
                <a:gd name="T38" fmla="*/ 0 w 52"/>
                <a:gd name="T39" fmla="*/ 18 h 10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2"/>
                <a:gd name="T61" fmla="*/ 0 h 106"/>
                <a:gd name="T62" fmla="*/ 52 w 52"/>
                <a:gd name="T63" fmla="*/ 106 h 10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2" h="106">
                  <a:moveTo>
                    <a:pt x="0" y="18"/>
                  </a:moveTo>
                  <a:lnTo>
                    <a:pt x="0" y="18"/>
                  </a:lnTo>
                  <a:lnTo>
                    <a:pt x="0" y="0"/>
                  </a:lnTo>
                  <a:lnTo>
                    <a:pt x="17" y="0"/>
                  </a:lnTo>
                  <a:lnTo>
                    <a:pt x="52" y="18"/>
                  </a:lnTo>
                  <a:lnTo>
                    <a:pt x="52" y="53"/>
                  </a:lnTo>
                  <a:lnTo>
                    <a:pt x="52" y="106"/>
                  </a:lnTo>
                  <a:lnTo>
                    <a:pt x="35" y="106"/>
                  </a:lnTo>
                  <a:lnTo>
                    <a:pt x="17" y="106"/>
                  </a:lnTo>
                  <a:lnTo>
                    <a:pt x="17" y="88"/>
                  </a:lnTo>
                  <a:lnTo>
                    <a:pt x="17" y="53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57"/>
            <p:cNvSpPr>
              <a:spLocks/>
            </p:cNvSpPr>
            <p:nvPr/>
          </p:nvSpPr>
          <p:spPr bwMode="auto">
            <a:xfrm>
              <a:off x="4352500" y="2924183"/>
              <a:ext cx="63653" cy="42441"/>
            </a:xfrm>
            <a:custGeom>
              <a:avLst/>
              <a:gdLst>
                <a:gd name="T0" fmla="*/ 88 w 105"/>
                <a:gd name="T1" fmla="*/ 17 h 70"/>
                <a:gd name="T2" fmla="*/ 88 w 105"/>
                <a:gd name="T3" fmla="*/ 0 h 70"/>
                <a:gd name="T4" fmla="*/ 88 w 105"/>
                <a:gd name="T5" fmla="*/ 0 h 70"/>
                <a:gd name="T6" fmla="*/ 88 w 105"/>
                <a:gd name="T7" fmla="*/ 0 h 70"/>
                <a:gd name="T8" fmla="*/ 53 w 105"/>
                <a:gd name="T9" fmla="*/ 0 h 70"/>
                <a:gd name="T10" fmla="*/ 53 w 105"/>
                <a:gd name="T11" fmla="*/ 0 h 70"/>
                <a:gd name="T12" fmla="*/ 17 w 105"/>
                <a:gd name="T13" fmla="*/ 0 h 70"/>
                <a:gd name="T14" fmla="*/ 0 w 105"/>
                <a:gd name="T15" fmla="*/ 17 h 70"/>
                <a:gd name="T16" fmla="*/ 0 w 105"/>
                <a:gd name="T17" fmla="*/ 52 h 70"/>
                <a:gd name="T18" fmla="*/ 0 w 105"/>
                <a:gd name="T19" fmla="*/ 52 h 70"/>
                <a:gd name="T20" fmla="*/ 0 w 105"/>
                <a:gd name="T21" fmla="*/ 70 h 70"/>
                <a:gd name="T22" fmla="*/ 35 w 105"/>
                <a:gd name="T23" fmla="*/ 70 h 70"/>
                <a:gd name="T24" fmla="*/ 35 w 105"/>
                <a:gd name="T25" fmla="*/ 70 h 70"/>
                <a:gd name="T26" fmla="*/ 70 w 105"/>
                <a:gd name="T27" fmla="*/ 70 h 70"/>
                <a:gd name="T28" fmla="*/ 105 w 105"/>
                <a:gd name="T29" fmla="*/ 70 h 70"/>
                <a:gd name="T30" fmla="*/ 105 w 105"/>
                <a:gd name="T31" fmla="*/ 70 h 70"/>
                <a:gd name="T32" fmla="*/ 105 w 105"/>
                <a:gd name="T33" fmla="*/ 52 h 70"/>
                <a:gd name="T34" fmla="*/ 105 w 105"/>
                <a:gd name="T35" fmla="*/ 52 h 70"/>
                <a:gd name="T36" fmla="*/ 105 w 105"/>
                <a:gd name="T37" fmla="*/ 52 h 70"/>
                <a:gd name="T38" fmla="*/ 70 w 105"/>
                <a:gd name="T39" fmla="*/ 35 h 70"/>
                <a:gd name="T40" fmla="*/ 70 w 105"/>
                <a:gd name="T41" fmla="*/ 35 h 70"/>
                <a:gd name="T42" fmla="*/ 88 w 105"/>
                <a:gd name="T43" fmla="*/ 17 h 70"/>
                <a:gd name="T44" fmla="*/ 88 w 105"/>
                <a:gd name="T45" fmla="*/ 17 h 70"/>
                <a:gd name="T46" fmla="*/ 88 w 105"/>
                <a:gd name="T47" fmla="*/ 17 h 7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5"/>
                <a:gd name="T73" fmla="*/ 0 h 70"/>
                <a:gd name="T74" fmla="*/ 105 w 105"/>
                <a:gd name="T75" fmla="*/ 70 h 7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5" h="70">
                  <a:moveTo>
                    <a:pt x="88" y="17"/>
                  </a:moveTo>
                  <a:lnTo>
                    <a:pt x="88" y="0"/>
                  </a:lnTo>
                  <a:lnTo>
                    <a:pt x="53" y="0"/>
                  </a:lnTo>
                  <a:lnTo>
                    <a:pt x="17" y="0"/>
                  </a:lnTo>
                  <a:lnTo>
                    <a:pt x="0" y="17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35" y="70"/>
                  </a:lnTo>
                  <a:lnTo>
                    <a:pt x="70" y="70"/>
                  </a:lnTo>
                  <a:lnTo>
                    <a:pt x="105" y="70"/>
                  </a:lnTo>
                  <a:lnTo>
                    <a:pt x="105" y="52"/>
                  </a:lnTo>
                  <a:lnTo>
                    <a:pt x="70" y="35"/>
                  </a:lnTo>
                  <a:lnTo>
                    <a:pt x="88" y="17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58"/>
            <p:cNvSpPr>
              <a:spLocks/>
            </p:cNvSpPr>
            <p:nvPr/>
          </p:nvSpPr>
          <p:spPr bwMode="auto">
            <a:xfrm>
              <a:off x="4501630" y="2998151"/>
              <a:ext cx="32130" cy="21827"/>
            </a:xfrm>
            <a:custGeom>
              <a:avLst/>
              <a:gdLst>
                <a:gd name="T0" fmla="*/ 0 w 53"/>
                <a:gd name="T1" fmla="*/ 0 h 36"/>
                <a:gd name="T2" fmla="*/ 0 w 53"/>
                <a:gd name="T3" fmla="*/ 36 h 36"/>
                <a:gd name="T4" fmla="*/ 0 w 53"/>
                <a:gd name="T5" fmla="*/ 36 h 36"/>
                <a:gd name="T6" fmla="*/ 0 w 53"/>
                <a:gd name="T7" fmla="*/ 36 h 36"/>
                <a:gd name="T8" fmla="*/ 17 w 53"/>
                <a:gd name="T9" fmla="*/ 36 h 36"/>
                <a:gd name="T10" fmla="*/ 53 w 53"/>
                <a:gd name="T11" fmla="*/ 18 h 36"/>
                <a:gd name="T12" fmla="*/ 53 w 53"/>
                <a:gd name="T13" fmla="*/ 18 h 36"/>
                <a:gd name="T14" fmla="*/ 17 w 53"/>
                <a:gd name="T15" fmla="*/ 18 h 36"/>
                <a:gd name="T16" fmla="*/ 0 w 53"/>
                <a:gd name="T17" fmla="*/ 0 h 36"/>
                <a:gd name="T18" fmla="*/ 0 w 53"/>
                <a:gd name="T19" fmla="*/ 0 h 36"/>
                <a:gd name="T20" fmla="*/ 0 w 53"/>
                <a:gd name="T21" fmla="*/ 0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3"/>
                <a:gd name="T34" fmla="*/ 0 h 36"/>
                <a:gd name="T35" fmla="*/ 53 w 53"/>
                <a:gd name="T36" fmla="*/ 36 h 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3" h="36">
                  <a:moveTo>
                    <a:pt x="0" y="0"/>
                  </a:moveTo>
                  <a:lnTo>
                    <a:pt x="0" y="36"/>
                  </a:lnTo>
                  <a:lnTo>
                    <a:pt x="17" y="36"/>
                  </a:lnTo>
                  <a:lnTo>
                    <a:pt x="53" y="18"/>
                  </a:lnTo>
                  <a:lnTo>
                    <a:pt x="17" y="1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59"/>
            <p:cNvSpPr>
              <a:spLocks/>
            </p:cNvSpPr>
            <p:nvPr/>
          </p:nvSpPr>
          <p:spPr bwMode="auto">
            <a:xfrm>
              <a:off x="4586501" y="3094551"/>
              <a:ext cx="64259" cy="42441"/>
            </a:xfrm>
            <a:custGeom>
              <a:avLst/>
              <a:gdLst>
                <a:gd name="T0" fmla="*/ 53 w 106"/>
                <a:gd name="T1" fmla="*/ 0 h 70"/>
                <a:gd name="T2" fmla="*/ 53 w 106"/>
                <a:gd name="T3" fmla="*/ 0 h 70"/>
                <a:gd name="T4" fmla="*/ 35 w 106"/>
                <a:gd name="T5" fmla="*/ 17 h 70"/>
                <a:gd name="T6" fmla="*/ 18 w 106"/>
                <a:gd name="T7" fmla="*/ 35 h 70"/>
                <a:gd name="T8" fmla="*/ 0 w 106"/>
                <a:gd name="T9" fmla="*/ 35 h 70"/>
                <a:gd name="T10" fmla="*/ 0 w 106"/>
                <a:gd name="T11" fmla="*/ 52 h 70"/>
                <a:gd name="T12" fmla="*/ 0 w 106"/>
                <a:gd name="T13" fmla="*/ 52 h 70"/>
                <a:gd name="T14" fmla="*/ 0 w 106"/>
                <a:gd name="T15" fmla="*/ 70 h 70"/>
                <a:gd name="T16" fmla="*/ 18 w 106"/>
                <a:gd name="T17" fmla="*/ 70 h 70"/>
                <a:gd name="T18" fmla="*/ 18 w 106"/>
                <a:gd name="T19" fmla="*/ 70 h 70"/>
                <a:gd name="T20" fmla="*/ 71 w 106"/>
                <a:gd name="T21" fmla="*/ 52 h 70"/>
                <a:gd name="T22" fmla="*/ 106 w 106"/>
                <a:gd name="T23" fmla="*/ 17 h 70"/>
                <a:gd name="T24" fmla="*/ 106 w 106"/>
                <a:gd name="T25" fmla="*/ 17 h 70"/>
                <a:gd name="T26" fmla="*/ 88 w 106"/>
                <a:gd name="T27" fmla="*/ 17 h 70"/>
                <a:gd name="T28" fmla="*/ 53 w 106"/>
                <a:gd name="T29" fmla="*/ 0 h 70"/>
                <a:gd name="T30" fmla="*/ 53 w 106"/>
                <a:gd name="T31" fmla="*/ 0 h 70"/>
                <a:gd name="T32" fmla="*/ 53 w 106"/>
                <a:gd name="T33" fmla="*/ 0 h 7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6"/>
                <a:gd name="T52" fmla="*/ 0 h 70"/>
                <a:gd name="T53" fmla="*/ 106 w 106"/>
                <a:gd name="T54" fmla="*/ 70 h 7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6" h="70">
                  <a:moveTo>
                    <a:pt x="53" y="0"/>
                  </a:moveTo>
                  <a:lnTo>
                    <a:pt x="53" y="0"/>
                  </a:lnTo>
                  <a:lnTo>
                    <a:pt x="35" y="17"/>
                  </a:lnTo>
                  <a:lnTo>
                    <a:pt x="18" y="35"/>
                  </a:lnTo>
                  <a:lnTo>
                    <a:pt x="0" y="35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18" y="70"/>
                  </a:lnTo>
                  <a:lnTo>
                    <a:pt x="71" y="52"/>
                  </a:lnTo>
                  <a:lnTo>
                    <a:pt x="106" y="17"/>
                  </a:lnTo>
                  <a:lnTo>
                    <a:pt x="88" y="17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60"/>
            <p:cNvSpPr>
              <a:spLocks/>
            </p:cNvSpPr>
            <p:nvPr/>
          </p:nvSpPr>
          <p:spPr bwMode="auto">
            <a:xfrm>
              <a:off x="8559066" y="4159204"/>
              <a:ext cx="724434" cy="788182"/>
            </a:xfrm>
            <a:custGeom>
              <a:avLst/>
              <a:gdLst>
                <a:gd name="T0" fmla="*/ 211 w 1195"/>
                <a:gd name="T1" fmla="*/ 404 h 1300"/>
                <a:gd name="T2" fmla="*/ 141 w 1195"/>
                <a:gd name="T3" fmla="*/ 299 h 1300"/>
                <a:gd name="T4" fmla="*/ 106 w 1195"/>
                <a:gd name="T5" fmla="*/ 228 h 1300"/>
                <a:gd name="T6" fmla="*/ 0 w 1195"/>
                <a:gd name="T7" fmla="*/ 123 h 1300"/>
                <a:gd name="T8" fmla="*/ 18 w 1195"/>
                <a:gd name="T9" fmla="*/ 123 h 1300"/>
                <a:gd name="T10" fmla="*/ 70 w 1195"/>
                <a:gd name="T11" fmla="*/ 105 h 1300"/>
                <a:gd name="T12" fmla="*/ 53 w 1195"/>
                <a:gd name="T13" fmla="*/ 35 h 1300"/>
                <a:gd name="T14" fmla="*/ 53 w 1195"/>
                <a:gd name="T15" fmla="*/ 0 h 1300"/>
                <a:gd name="T16" fmla="*/ 229 w 1195"/>
                <a:gd name="T17" fmla="*/ 105 h 1300"/>
                <a:gd name="T18" fmla="*/ 369 w 1195"/>
                <a:gd name="T19" fmla="*/ 281 h 1300"/>
                <a:gd name="T20" fmla="*/ 545 w 1195"/>
                <a:gd name="T21" fmla="*/ 404 h 1300"/>
                <a:gd name="T22" fmla="*/ 756 w 1195"/>
                <a:gd name="T23" fmla="*/ 509 h 1300"/>
                <a:gd name="T24" fmla="*/ 843 w 1195"/>
                <a:gd name="T25" fmla="*/ 562 h 1300"/>
                <a:gd name="T26" fmla="*/ 966 w 1195"/>
                <a:gd name="T27" fmla="*/ 632 h 1300"/>
                <a:gd name="T28" fmla="*/ 931 w 1195"/>
                <a:gd name="T29" fmla="*/ 632 h 1300"/>
                <a:gd name="T30" fmla="*/ 826 w 1195"/>
                <a:gd name="T31" fmla="*/ 615 h 1300"/>
                <a:gd name="T32" fmla="*/ 738 w 1195"/>
                <a:gd name="T33" fmla="*/ 615 h 1300"/>
                <a:gd name="T34" fmla="*/ 720 w 1195"/>
                <a:gd name="T35" fmla="*/ 632 h 1300"/>
                <a:gd name="T36" fmla="*/ 720 w 1195"/>
                <a:gd name="T37" fmla="*/ 738 h 1300"/>
                <a:gd name="T38" fmla="*/ 756 w 1195"/>
                <a:gd name="T39" fmla="*/ 773 h 1300"/>
                <a:gd name="T40" fmla="*/ 791 w 1195"/>
                <a:gd name="T41" fmla="*/ 861 h 1300"/>
                <a:gd name="T42" fmla="*/ 808 w 1195"/>
                <a:gd name="T43" fmla="*/ 896 h 1300"/>
                <a:gd name="T44" fmla="*/ 896 w 1195"/>
                <a:gd name="T45" fmla="*/ 984 h 1300"/>
                <a:gd name="T46" fmla="*/ 1125 w 1195"/>
                <a:gd name="T47" fmla="*/ 1036 h 1300"/>
                <a:gd name="T48" fmla="*/ 1195 w 1195"/>
                <a:gd name="T49" fmla="*/ 1124 h 1300"/>
                <a:gd name="T50" fmla="*/ 1142 w 1195"/>
                <a:gd name="T51" fmla="*/ 1107 h 1300"/>
                <a:gd name="T52" fmla="*/ 1089 w 1195"/>
                <a:gd name="T53" fmla="*/ 1089 h 1300"/>
                <a:gd name="T54" fmla="*/ 1019 w 1195"/>
                <a:gd name="T55" fmla="*/ 1124 h 1300"/>
                <a:gd name="T56" fmla="*/ 1019 w 1195"/>
                <a:gd name="T57" fmla="*/ 1159 h 1300"/>
                <a:gd name="T58" fmla="*/ 1054 w 1195"/>
                <a:gd name="T59" fmla="*/ 1265 h 1300"/>
                <a:gd name="T60" fmla="*/ 1072 w 1195"/>
                <a:gd name="T61" fmla="*/ 1300 h 1300"/>
                <a:gd name="T62" fmla="*/ 949 w 1195"/>
                <a:gd name="T63" fmla="*/ 1212 h 1300"/>
                <a:gd name="T64" fmla="*/ 773 w 1195"/>
                <a:gd name="T65" fmla="*/ 966 h 1300"/>
                <a:gd name="T66" fmla="*/ 650 w 1195"/>
                <a:gd name="T67" fmla="*/ 878 h 1300"/>
                <a:gd name="T68" fmla="*/ 580 w 1195"/>
                <a:gd name="T69" fmla="*/ 720 h 1300"/>
                <a:gd name="T70" fmla="*/ 352 w 1195"/>
                <a:gd name="T71" fmla="*/ 457 h 1300"/>
                <a:gd name="T72" fmla="*/ 229 w 1195"/>
                <a:gd name="T73" fmla="*/ 404 h 1300"/>
                <a:gd name="T74" fmla="*/ 211 w 1195"/>
                <a:gd name="T75" fmla="*/ 404 h 13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95"/>
                <a:gd name="T115" fmla="*/ 0 h 1300"/>
                <a:gd name="T116" fmla="*/ 1195 w 1195"/>
                <a:gd name="T117" fmla="*/ 1300 h 13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95" h="1300">
                  <a:moveTo>
                    <a:pt x="211" y="404"/>
                  </a:moveTo>
                  <a:lnTo>
                    <a:pt x="211" y="404"/>
                  </a:lnTo>
                  <a:lnTo>
                    <a:pt x="141" y="299"/>
                  </a:lnTo>
                  <a:lnTo>
                    <a:pt x="123" y="263"/>
                  </a:lnTo>
                  <a:lnTo>
                    <a:pt x="106" y="228"/>
                  </a:lnTo>
                  <a:lnTo>
                    <a:pt x="35" y="176"/>
                  </a:lnTo>
                  <a:lnTo>
                    <a:pt x="0" y="123"/>
                  </a:lnTo>
                  <a:lnTo>
                    <a:pt x="18" y="123"/>
                  </a:lnTo>
                  <a:lnTo>
                    <a:pt x="70" y="105"/>
                  </a:lnTo>
                  <a:lnTo>
                    <a:pt x="70" y="88"/>
                  </a:lnTo>
                  <a:lnTo>
                    <a:pt x="53" y="35"/>
                  </a:lnTo>
                  <a:lnTo>
                    <a:pt x="53" y="0"/>
                  </a:lnTo>
                  <a:lnTo>
                    <a:pt x="158" y="53"/>
                  </a:lnTo>
                  <a:lnTo>
                    <a:pt x="229" y="105"/>
                  </a:lnTo>
                  <a:lnTo>
                    <a:pt x="369" y="281"/>
                  </a:lnTo>
                  <a:lnTo>
                    <a:pt x="439" y="351"/>
                  </a:lnTo>
                  <a:lnTo>
                    <a:pt x="545" y="404"/>
                  </a:lnTo>
                  <a:lnTo>
                    <a:pt x="756" y="509"/>
                  </a:lnTo>
                  <a:lnTo>
                    <a:pt x="808" y="544"/>
                  </a:lnTo>
                  <a:lnTo>
                    <a:pt x="843" y="562"/>
                  </a:lnTo>
                  <a:lnTo>
                    <a:pt x="879" y="597"/>
                  </a:lnTo>
                  <a:lnTo>
                    <a:pt x="966" y="632"/>
                  </a:lnTo>
                  <a:lnTo>
                    <a:pt x="931" y="632"/>
                  </a:lnTo>
                  <a:lnTo>
                    <a:pt x="896" y="632"/>
                  </a:lnTo>
                  <a:lnTo>
                    <a:pt x="826" y="615"/>
                  </a:lnTo>
                  <a:lnTo>
                    <a:pt x="756" y="597"/>
                  </a:lnTo>
                  <a:lnTo>
                    <a:pt x="738" y="615"/>
                  </a:lnTo>
                  <a:lnTo>
                    <a:pt x="720" y="632"/>
                  </a:lnTo>
                  <a:lnTo>
                    <a:pt x="720" y="738"/>
                  </a:lnTo>
                  <a:lnTo>
                    <a:pt x="756" y="773"/>
                  </a:lnTo>
                  <a:lnTo>
                    <a:pt x="773" y="825"/>
                  </a:lnTo>
                  <a:lnTo>
                    <a:pt x="791" y="861"/>
                  </a:lnTo>
                  <a:lnTo>
                    <a:pt x="808" y="896"/>
                  </a:lnTo>
                  <a:lnTo>
                    <a:pt x="843" y="948"/>
                  </a:lnTo>
                  <a:lnTo>
                    <a:pt x="896" y="984"/>
                  </a:lnTo>
                  <a:lnTo>
                    <a:pt x="1019" y="1019"/>
                  </a:lnTo>
                  <a:lnTo>
                    <a:pt x="1125" y="1036"/>
                  </a:lnTo>
                  <a:lnTo>
                    <a:pt x="1177" y="1071"/>
                  </a:lnTo>
                  <a:lnTo>
                    <a:pt x="1195" y="1124"/>
                  </a:lnTo>
                  <a:lnTo>
                    <a:pt x="1142" y="1107"/>
                  </a:lnTo>
                  <a:lnTo>
                    <a:pt x="1089" y="1089"/>
                  </a:lnTo>
                  <a:lnTo>
                    <a:pt x="1054" y="1107"/>
                  </a:lnTo>
                  <a:lnTo>
                    <a:pt x="1019" y="1124"/>
                  </a:lnTo>
                  <a:lnTo>
                    <a:pt x="1019" y="1159"/>
                  </a:lnTo>
                  <a:lnTo>
                    <a:pt x="1037" y="1212"/>
                  </a:lnTo>
                  <a:lnTo>
                    <a:pt x="1054" y="1265"/>
                  </a:lnTo>
                  <a:lnTo>
                    <a:pt x="1072" y="1300"/>
                  </a:lnTo>
                  <a:lnTo>
                    <a:pt x="1002" y="1265"/>
                  </a:lnTo>
                  <a:lnTo>
                    <a:pt x="949" y="1212"/>
                  </a:lnTo>
                  <a:lnTo>
                    <a:pt x="861" y="1089"/>
                  </a:lnTo>
                  <a:lnTo>
                    <a:pt x="773" y="966"/>
                  </a:lnTo>
                  <a:lnTo>
                    <a:pt x="720" y="913"/>
                  </a:lnTo>
                  <a:lnTo>
                    <a:pt x="650" y="878"/>
                  </a:lnTo>
                  <a:lnTo>
                    <a:pt x="580" y="720"/>
                  </a:lnTo>
                  <a:lnTo>
                    <a:pt x="475" y="580"/>
                  </a:lnTo>
                  <a:lnTo>
                    <a:pt x="352" y="457"/>
                  </a:lnTo>
                  <a:lnTo>
                    <a:pt x="281" y="422"/>
                  </a:lnTo>
                  <a:lnTo>
                    <a:pt x="229" y="404"/>
                  </a:lnTo>
                  <a:lnTo>
                    <a:pt x="211" y="404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61"/>
            <p:cNvSpPr>
              <a:spLocks/>
            </p:cNvSpPr>
            <p:nvPr/>
          </p:nvSpPr>
          <p:spPr bwMode="auto">
            <a:xfrm>
              <a:off x="7781891" y="847625"/>
              <a:ext cx="1171219" cy="2608884"/>
            </a:xfrm>
            <a:custGeom>
              <a:avLst/>
              <a:gdLst>
                <a:gd name="T0" fmla="*/ 439 w 1932"/>
                <a:gd name="T1" fmla="*/ 2581 h 4303"/>
                <a:gd name="T2" fmla="*/ 351 w 1932"/>
                <a:gd name="T3" fmla="*/ 2687 h 4303"/>
                <a:gd name="T4" fmla="*/ 246 w 1932"/>
                <a:gd name="T5" fmla="*/ 2827 h 4303"/>
                <a:gd name="T6" fmla="*/ 263 w 1932"/>
                <a:gd name="T7" fmla="*/ 2933 h 4303"/>
                <a:gd name="T8" fmla="*/ 334 w 1932"/>
                <a:gd name="T9" fmla="*/ 3091 h 4303"/>
                <a:gd name="T10" fmla="*/ 386 w 1932"/>
                <a:gd name="T11" fmla="*/ 3231 h 4303"/>
                <a:gd name="T12" fmla="*/ 263 w 1932"/>
                <a:gd name="T13" fmla="*/ 3337 h 4303"/>
                <a:gd name="T14" fmla="*/ 175 w 1932"/>
                <a:gd name="T15" fmla="*/ 3477 h 4303"/>
                <a:gd name="T16" fmla="*/ 175 w 1932"/>
                <a:gd name="T17" fmla="*/ 3565 h 4303"/>
                <a:gd name="T18" fmla="*/ 211 w 1932"/>
                <a:gd name="T19" fmla="*/ 3881 h 4303"/>
                <a:gd name="T20" fmla="*/ 298 w 1932"/>
                <a:gd name="T21" fmla="*/ 4022 h 4303"/>
                <a:gd name="T22" fmla="*/ 421 w 1932"/>
                <a:gd name="T23" fmla="*/ 3987 h 4303"/>
                <a:gd name="T24" fmla="*/ 597 w 1932"/>
                <a:gd name="T25" fmla="*/ 4197 h 4303"/>
                <a:gd name="T26" fmla="*/ 702 w 1932"/>
                <a:gd name="T27" fmla="*/ 4215 h 4303"/>
                <a:gd name="T28" fmla="*/ 861 w 1932"/>
                <a:gd name="T29" fmla="*/ 4303 h 4303"/>
                <a:gd name="T30" fmla="*/ 1019 w 1932"/>
                <a:gd name="T31" fmla="*/ 4162 h 4303"/>
                <a:gd name="T32" fmla="*/ 1212 w 1932"/>
                <a:gd name="T33" fmla="*/ 3881 h 4303"/>
                <a:gd name="T34" fmla="*/ 1247 w 1932"/>
                <a:gd name="T35" fmla="*/ 4022 h 4303"/>
                <a:gd name="T36" fmla="*/ 1423 w 1932"/>
                <a:gd name="T37" fmla="*/ 3600 h 4303"/>
                <a:gd name="T38" fmla="*/ 1282 w 1932"/>
                <a:gd name="T39" fmla="*/ 3688 h 4303"/>
                <a:gd name="T40" fmla="*/ 1159 w 1932"/>
                <a:gd name="T41" fmla="*/ 3126 h 4303"/>
                <a:gd name="T42" fmla="*/ 1282 w 1932"/>
                <a:gd name="T43" fmla="*/ 2880 h 4303"/>
                <a:gd name="T44" fmla="*/ 1423 w 1932"/>
                <a:gd name="T45" fmla="*/ 3003 h 4303"/>
                <a:gd name="T46" fmla="*/ 1475 w 1932"/>
                <a:gd name="T47" fmla="*/ 2933 h 4303"/>
                <a:gd name="T48" fmla="*/ 1423 w 1932"/>
                <a:gd name="T49" fmla="*/ 2704 h 4303"/>
                <a:gd name="T50" fmla="*/ 1335 w 1932"/>
                <a:gd name="T51" fmla="*/ 2704 h 4303"/>
                <a:gd name="T52" fmla="*/ 1159 w 1932"/>
                <a:gd name="T53" fmla="*/ 2529 h 4303"/>
                <a:gd name="T54" fmla="*/ 1001 w 1932"/>
                <a:gd name="T55" fmla="*/ 2423 h 4303"/>
                <a:gd name="T56" fmla="*/ 913 w 1932"/>
                <a:gd name="T57" fmla="*/ 2353 h 4303"/>
                <a:gd name="T58" fmla="*/ 966 w 1932"/>
                <a:gd name="T59" fmla="*/ 2230 h 4303"/>
                <a:gd name="T60" fmla="*/ 1177 w 1932"/>
                <a:gd name="T61" fmla="*/ 2002 h 4303"/>
                <a:gd name="T62" fmla="*/ 1370 w 1932"/>
                <a:gd name="T63" fmla="*/ 1932 h 4303"/>
                <a:gd name="T64" fmla="*/ 1528 w 1932"/>
                <a:gd name="T65" fmla="*/ 2002 h 4303"/>
                <a:gd name="T66" fmla="*/ 1704 w 1932"/>
                <a:gd name="T67" fmla="*/ 1861 h 4303"/>
                <a:gd name="T68" fmla="*/ 1809 w 1932"/>
                <a:gd name="T69" fmla="*/ 1651 h 4303"/>
                <a:gd name="T70" fmla="*/ 1827 w 1932"/>
                <a:gd name="T71" fmla="*/ 1317 h 4303"/>
                <a:gd name="T72" fmla="*/ 1792 w 1932"/>
                <a:gd name="T73" fmla="*/ 1089 h 4303"/>
                <a:gd name="T74" fmla="*/ 1458 w 1932"/>
                <a:gd name="T75" fmla="*/ 1211 h 4303"/>
                <a:gd name="T76" fmla="*/ 1440 w 1932"/>
                <a:gd name="T77" fmla="*/ 1124 h 4303"/>
                <a:gd name="T78" fmla="*/ 1265 w 1932"/>
                <a:gd name="T79" fmla="*/ 825 h 4303"/>
                <a:gd name="T80" fmla="*/ 1388 w 1932"/>
                <a:gd name="T81" fmla="*/ 720 h 4303"/>
                <a:gd name="T82" fmla="*/ 1475 w 1932"/>
                <a:gd name="T83" fmla="*/ 544 h 4303"/>
                <a:gd name="T84" fmla="*/ 1634 w 1932"/>
                <a:gd name="T85" fmla="*/ 439 h 4303"/>
                <a:gd name="T86" fmla="*/ 1651 w 1932"/>
                <a:gd name="T87" fmla="*/ 281 h 4303"/>
                <a:gd name="T88" fmla="*/ 1458 w 1932"/>
                <a:gd name="T89" fmla="*/ 228 h 4303"/>
                <a:gd name="T90" fmla="*/ 1229 w 1932"/>
                <a:gd name="T91" fmla="*/ 105 h 4303"/>
                <a:gd name="T92" fmla="*/ 1300 w 1932"/>
                <a:gd name="T93" fmla="*/ 316 h 4303"/>
                <a:gd name="T94" fmla="*/ 1089 w 1932"/>
                <a:gd name="T95" fmla="*/ 351 h 4303"/>
                <a:gd name="T96" fmla="*/ 439 w 1932"/>
                <a:gd name="T97" fmla="*/ 843 h 4303"/>
                <a:gd name="T98" fmla="*/ 246 w 1932"/>
                <a:gd name="T99" fmla="*/ 1299 h 4303"/>
                <a:gd name="T100" fmla="*/ 439 w 1932"/>
                <a:gd name="T101" fmla="*/ 1387 h 4303"/>
                <a:gd name="T102" fmla="*/ 228 w 1932"/>
                <a:gd name="T103" fmla="*/ 1475 h 4303"/>
                <a:gd name="T104" fmla="*/ 158 w 1932"/>
                <a:gd name="T105" fmla="*/ 1615 h 4303"/>
                <a:gd name="T106" fmla="*/ 0 w 1932"/>
                <a:gd name="T107" fmla="*/ 1861 h 4303"/>
                <a:gd name="T108" fmla="*/ 158 w 1932"/>
                <a:gd name="T109" fmla="*/ 1914 h 4303"/>
                <a:gd name="T110" fmla="*/ 175 w 1932"/>
                <a:gd name="T111" fmla="*/ 2107 h 4303"/>
                <a:gd name="T112" fmla="*/ 105 w 1932"/>
                <a:gd name="T113" fmla="*/ 2318 h 4303"/>
                <a:gd name="T114" fmla="*/ 246 w 1932"/>
                <a:gd name="T115" fmla="*/ 2423 h 4303"/>
                <a:gd name="T116" fmla="*/ 404 w 1932"/>
                <a:gd name="T117" fmla="*/ 2494 h 430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932"/>
                <a:gd name="T178" fmla="*/ 0 h 4303"/>
                <a:gd name="T179" fmla="*/ 1932 w 1932"/>
                <a:gd name="T180" fmla="*/ 4303 h 430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932" h="4303">
                  <a:moveTo>
                    <a:pt x="404" y="2494"/>
                  </a:moveTo>
                  <a:lnTo>
                    <a:pt x="404" y="2494"/>
                  </a:lnTo>
                  <a:lnTo>
                    <a:pt x="439" y="2529"/>
                  </a:lnTo>
                  <a:lnTo>
                    <a:pt x="439" y="2546"/>
                  </a:lnTo>
                  <a:lnTo>
                    <a:pt x="439" y="2581"/>
                  </a:lnTo>
                  <a:lnTo>
                    <a:pt x="421" y="2599"/>
                  </a:lnTo>
                  <a:lnTo>
                    <a:pt x="421" y="2669"/>
                  </a:lnTo>
                  <a:lnTo>
                    <a:pt x="369" y="2669"/>
                  </a:lnTo>
                  <a:lnTo>
                    <a:pt x="351" y="2669"/>
                  </a:lnTo>
                  <a:lnTo>
                    <a:pt x="351" y="2687"/>
                  </a:lnTo>
                  <a:lnTo>
                    <a:pt x="351" y="2704"/>
                  </a:lnTo>
                  <a:lnTo>
                    <a:pt x="316" y="2740"/>
                  </a:lnTo>
                  <a:lnTo>
                    <a:pt x="281" y="2757"/>
                  </a:lnTo>
                  <a:lnTo>
                    <a:pt x="263" y="2775"/>
                  </a:lnTo>
                  <a:lnTo>
                    <a:pt x="246" y="2810"/>
                  </a:lnTo>
                  <a:lnTo>
                    <a:pt x="246" y="2827"/>
                  </a:lnTo>
                  <a:lnTo>
                    <a:pt x="263" y="2845"/>
                  </a:lnTo>
                  <a:lnTo>
                    <a:pt x="281" y="2845"/>
                  </a:lnTo>
                  <a:lnTo>
                    <a:pt x="298" y="2862"/>
                  </a:lnTo>
                  <a:lnTo>
                    <a:pt x="263" y="2880"/>
                  </a:lnTo>
                  <a:lnTo>
                    <a:pt x="263" y="2915"/>
                  </a:lnTo>
                  <a:lnTo>
                    <a:pt x="263" y="2933"/>
                  </a:lnTo>
                  <a:lnTo>
                    <a:pt x="281" y="2950"/>
                  </a:lnTo>
                  <a:lnTo>
                    <a:pt x="298" y="2950"/>
                  </a:lnTo>
                  <a:lnTo>
                    <a:pt x="316" y="2968"/>
                  </a:lnTo>
                  <a:lnTo>
                    <a:pt x="334" y="3021"/>
                  </a:lnTo>
                  <a:lnTo>
                    <a:pt x="334" y="3073"/>
                  </a:lnTo>
                  <a:lnTo>
                    <a:pt x="334" y="3091"/>
                  </a:lnTo>
                  <a:lnTo>
                    <a:pt x="369" y="3108"/>
                  </a:lnTo>
                  <a:lnTo>
                    <a:pt x="386" y="3126"/>
                  </a:lnTo>
                  <a:lnTo>
                    <a:pt x="404" y="3161"/>
                  </a:lnTo>
                  <a:lnTo>
                    <a:pt x="421" y="3196"/>
                  </a:lnTo>
                  <a:lnTo>
                    <a:pt x="404" y="3214"/>
                  </a:lnTo>
                  <a:lnTo>
                    <a:pt x="386" y="3231"/>
                  </a:lnTo>
                  <a:lnTo>
                    <a:pt x="369" y="3284"/>
                  </a:lnTo>
                  <a:lnTo>
                    <a:pt x="351" y="3337"/>
                  </a:lnTo>
                  <a:lnTo>
                    <a:pt x="351" y="3354"/>
                  </a:lnTo>
                  <a:lnTo>
                    <a:pt x="316" y="3354"/>
                  </a:lnTo>
                  <a:lnTo>
                    <a:pt x="298" y="3354"/>
                  </a:lnTo>
                  <a:lnTo>
                    <a:pt x="263" y="3337"/>
                  </a:lnTo>
                  <a:lnTo>
                    <a:pt x="246" y="3354"/>
                  </a:lnTo>
                  <a:lnTo>
                    <a:pt x="246" y="3389"/>
                  </a:lnTo>
                  <a:lnTo>
                    <a:pt x="228" y="3407"/>
                  </a:lnTo>
                  <a:lnTo>
                    <a:pt x="193" y="3425"/>
                  </a:lnTo>
                  <a:lnTo>
                    <a:pt x="175" y="3442"/>
                  </a:lnTo>
                  <a:lnTo>
                    <a:pt x="175" y="3477"/>
                  </a:lnTo>
                  <a:lnTo>
                    <a:pt x="175" y="3495"/>
                  </a:lnTo>
                  <a:lnTo>
                    <a:pt x="193" y="3495"/>
                  </a:lnTo>
                  <a:lnTo>
                    <a:pt x="211" y="3512"/>
                  </a:lnTo>
                  <a:lnTo>
                    <a:pt x="228" y="3530"/>
                  </a:lnTo>
                  <a:lnTo>
                    <a:pt x="211" y="3565"/>
                  </a:lnTo>
                  <a:lnTo>
                    <a:pt x="175" y="3565"/>
                  </a:lnTo>
                  <a:lnTo>
                    <a:pt x="158" y="3583"/>
                  </a:lnTo>
                  <a:lnTo>
                    <a:pt x="140" y="3618"/>
                  </a:lnTo>
                  <a:lnTo>
                    <a:pt x="105" y="3688"/>
                  </a:lnTo>
                  <a:lnTo>
                    <a:pt x="123" y="3758"/>
                  </a:lnTo>
                  <a:lnTo>
                    <a:pt x="140" y="3793"/>
                  </a:lnTo>
                  <a:lnTo>
                    <a:pt x="211" y="3881"/>
                  </a:lnTo>
                  <a:lnTo>
                    <a:pt x="228" y="3899"/>
                  </a:lnTo>
                  <a:lnTo>
                    <a:pt x="246" y="3916"/>
                  </a:lnTo>
                  <a:lnTo>
                    <a:pt x="263" y="3916"/>
                  </a:lnTo>
                  <a:lnTo>
                    <a:pt x="281" y="3951"/>
                  </a:lnTo>
                  <a:lnTo>
                    <a:pt x="281" y="3987"/>
                  </a:lnTo>
                  <a:lnTo>
                    <a:pt x="298" y="4022"/>
                  </a:lnTo>
                  <a:lnTo>
                    <a:pt x="316" y="4057"/>
                  </a:lnTo>
                  <a:lnTo>
                    <a:pt x="334" y="4057"/>
                  </a:lnTo>
                  <a:lnTo>
                    <a:pt x="386" y="4022"/>
                  </a:lnTo>
                  <a:lnTo>
                    <a:pt x="421" y="3987"/>
                  </a:lnTo>
                  <a:lnTo>
                    <a:pt x="492" y="4004"/>
                  </a:lnTo>
                  <a:lnTo>
                    <a:pt x="544" y="4039"/>
                  </a:lnTo>
                  <a:lnTo>
                    <a:pt x="597" y="4074"/>
                  </a:lnTo>
                  <a:lnTo>
                    <a:pt x="615" y="4145"/>
                  </a:lnTo>
                  <a:lnTo>
                    <a:pt x="597" y="4162"/>
                  </a:lnTo>
                  <a:lnTo>
                    <a:pt x="597" y="4197"/>
                  </a:lnTo>
                  <a:lnTo>
                    <a:pt x="615" y="4232"/>
                  </a:lnTo>
                  <a:lnTo>
                    <a:pt x="650" y="4250"/>
                  </a:lnTo>
                  <a:lnTo>
                    <a:pt x="667" y="4250"/>
                  </a:lnTo>
                  <a:lnTo>
                    <a:pt x="685" y="4232"/>
                  </a:lnTo>
                  <a:lnTo>
                    <a:pt x="702" y="4215"/>
                  </a:lnTo>
                  <a:lnTo>
                    <a:pt x="755" y="4232"/>
                  </a:lnTo>
                  <a:lnTo>
                    <a:pt x="808" y="4232"/>
                  </a:lnTo>
                  <a:lnTo>
                    <a:pt x="825" y="4232"/>
                  </a:lnTo>
                  <a:lnTo>
                    <a:pt x="825" y="4268"/>
                  </a:lnTo>
                  <a:lnTo>
                    <a:pt x="843" y="4285"/>
                  </a:lnTo>
                  <a:lnTo>
                    <a:pt x="861" y="4303"/>
                  </a:lnTo>
                  <a:lnTo>
                    <a:pt x="931" y="4250"/>
                  </a:lnTo>
                  <a:lnTo>
                    <a:pt x="1019" y="4162"/>
                  </a:lnTo>
                  <a:lnTo>
                    <a:pt x="984" y="4127"/>
                  </a:lnTo>
                  <a:lnTo>
                    <a:pt x="966" y="4092"/>
                  </a:lnTo>
                  <a:lnTo>
                    <a:pt x="966" y="4057"/>
                  </a:lnTo>
                  <a:lnTo>
                    <a:pt x="1019" y="4004"/>
                  </a:lnTo>
                  <a:lnTo>
                    <a:pt x="1071" y="3969"/>
                  </a:lnTo>
                  <a:lnTo>
                    <a:pt x="1159" y="3934"/>
                  </a:lnTo>
                  <a:lnTo>
                    <a:pt x="1212" y="3881"/>
                  </a:lnTo>
                  <a:lnTo>
                    <a:pt x="1229" y="3899"/>
                  </a:lnTo>
                  <a:lnTo>
                    <a:pt x="1229" y="3916"/>
                  </a:lnTo>
                  <a:lnTo>
                    <a:pt x="1212" y="3969"/>
                  </a:lnTo>
                  <a:lnTo>
                    <a:pt x="1212" y="4004"/>
                  </a:lnTo>
                  <a:lnTo>
                    <a:pt x="1212" y="4022"/>
                  </a:lnTo>
                  <a:lnTo>
                    <a:pt x="1247" y="4022"/>
                  </a:lnTo>
                  <a:lnTo>
                    <a:pt x="1282" y="3951"/>
                  </a:lnTo>
                  <a:lnTo>
                    <a:pt x="1317" y="3899"/>
                  </a:lnTo>
                  <a:lnTo>
                    <a:pt x="1335" y="3846"/>
                  </a:lnTo>
                  <a:lnTo>
                    <a:pt x="1335" y="3776"/>
                  </a:lnTo>
                  <a:lnTo>
                    <a:pt x="1388" y="3706"/>
                  </a:lnTo>
                  <a:lnTo>
                    <a:pt x="1405" y="3653"/>
                  </a:lnTo>
                  <a:lnTo>
                    <a:pt x="1423" y="3600"/>
                  </a:lnTo>
                  <a:lnTo>
                    <a:pt x="1405" y="3600"/>
                  </a:lnTo>
                  <a:lnTo>
                    <a:pt x="1370" y="3635"/>
                  </a:lnTo>
                  <a:lnTo>
                    <a:pt x="1317" y="3688"/>
                  </a:lnTo>
                  <a:lnTo>
                    <a:pt x="1300" y="3688"/>
                  </a:lnTo>
                  <a:lnTo>
                    <a:pt x="1282" y="3688"/>
                  </a:lnTo>
                  <a:lnTo>
                    <a:pt x="1265" y="3600"/>
                  </a:lnTo>
                  <a:lnTo>
                    <a:pt x="1229" y="3460"/>
                  </a:lnTo>
                  <a:lnTo>
                    <a:pt x="1212" y="3337"/>
                  </a:lnTo>
                  <a:lnTo>
                    <a:pt x="1177" y="3266"/>
                  </a:lnTo>
                  <a:lnTo>
                    <a:pt x="1159" y="3231"/>
                  </a:lnTo>
                  <a:lnTo>
                    <a:pt x="1142" y="3196"/>
                  </a:lnTo>
                  <a:lnTo>
                    <a:pt x="1159" y="3126"/>
                  </a:lnTo>
                  <a:lnTo>
                    <a:pt x="1212" y="2985"/>
                  </a:lnTo>
                  <a:lnTo>
                    <a:pt x="1247" y="2985"/>
                  </a:lnTo>
                  <a:lnTo>
                    <a:pt x="1265" y="2985"/>
                  </a:lnTo>
                  <a:lnTo>
                    <a:pt x="1265" y="2933"/>
                  </a:lnTo>
                  <a:lnTo>
                    <a:pt x="1265" y="2898"/>
                  </a:lnTo>
                  <a:lnTo>
                    <a:pt x="1265" y="2880"/>
                  </a:lnTo>
                  <a:lnTo>
                    <a:pt x="1282" y="2880"/>
                  </a:lnTo>
                  <a:lnTo>
                    <a:pt x="1300" y="2933"/>
                  </a:lnTo>
                  <a:lnTo>
                    <a:pt x="1335" y="2985"/>
                  </a:lnTo>
                  <a:lnTo>
                    <a:pt x="1370" y="3038"/>
                  </a:lnTo>
                  <a:lnTo>
                    <a:pt x="1388" y="3038"/>
                  </a:lnTo>
                  <a:lnTo>
                    <a:pt x="1405" y="3038"/>
                  </a:lnTo>
                  <a:lnTo>
                    <a:pt x="1423" y="3003"/>
                  </a:lnTo>
                  <a:lnTo>
                    <a:pt x="1458" y="3003"/>
                  </a:lnTo>
                  <a:lnTo>
                    <a:pt x="1475" y="3038"/>
                  </a:lnTo>
                  <a:lnTo>
                    <a:pt x="1475" y="3056"/>
                  </a:lnTo>
                  <a:lnTo>
                    <a:pt x="1493" y="3056"/>
                  </a:lnTo>
                  <a:lnTo>
                    <a:pt x="1511" y="3038"/>
                  </a:lnTo>
                  <a:lnTo>
                    <a:pt x="1511" y="3003"/>
                  </a:lnTo>
                  <a:lnTo>
                    <a:pt x="1475" y="2933"/>
                  </a:lnTo>
                  <a:lnTo>
                    <a:pt x="1440" y="2862"/>
                  </a:lnTo>
                  <a:lnTo>
                    <a:pt x="1440" y="2810"/>
                  </a:lnTo>
                  <a:lnTo>
                    <a:pt x="1440" y="2775"/>
                  </a:lnTo>
                  <a:lnTo>
                    <a:pt x="1458" y="2722"/>
                  </a:lnTo>
                  <a:lnTo>
                    <a:pt x="1458" y="2687"/>
                  </a:lnTo>
                  <a:lnTo>
                    <a:pt x="1423" y="2704"/>
                  </a:lnTo>
                  <a:lnTo>
                    <a:pt x="1405" y="2722"/>
                  </a:lnTo>
                  <a:lnTo>
                    <a:pt x="1388" y="2704"/>
                  </a:lnTo>
                  <a:lnTo>
                    <a:pt x="1370" y="2687"/>
                  </a:lnTo>
                  <a:lnTo>
                    <a:pt x="1352" y="2704"/>
                  </a:lnTo>
                  <a:lnTo>
                    <a:pt x="1335" y="2704"/>
                  </a:lnTo>
                  <a:lnTo>
                    <a:pt x="1317" y="2687"/>
                  </a:lnTo>
                  <a:lnTo>
                    <a:pt x="1317" y="2652"/>
                  </a:lnTo>
                  <a:lnTo>
                    <a:pt x="1300" y="2617"/>
                  </a:lnTo>
                  <a:lnTo>
                    <a:pt x="1265" y="2599"/>
                  </a:lnTo>
                  <a:lnTo>
                    <a:pt x="1194" y="2599"/>
                  </a:lnTo>
                  <a:lnTo>
                    <a:pt x="1177" y="2581"/>
                  </a:lnTo>
                  <a:lnTo>
                    <a:pt x="1159" y="2529"/>
                  </a:lnTo>
                  <a:lnTo>
                    <a:pt x="1071" y="2459"/>
                  </a:lnTo>
                  <a:lnTo>
                    <a:pt x="1019" y="2459"/>
                  </a:lnTo>
                  <a:lnTo>
                    <a:pt x="1001" y="2441"/>
                  </a:lnTo>
                  <a:lnTo>
                    <a:pt x="1001" y="2423"/>
                  </a:lnTo>
                  <a:lnTo>
                    <a:pt x="1001" y="2388"/>
                  </a:lnTo>
                  <a:lnTo>
                    <a:pt x="1001" y="2371"/>
                  </a:lnTo>
                  <a:lnTo>
                    <a:pt x="984" y="2353"/>
                  </a:lnTo>
                  <a:lnTo>
                    <a:pt x="913" y="2353"/>
                  </a:lnTo>
                  <a:lnTo>
                    <a:pt x="913" y="2300"/>
                  </a:lnTo>
                  <a:lnTo>
                    <a:pt x="913" y="2265"/>
                  </a:lnTo>
                  <a:lnTo>
                    <a:pt x="931" y="2248"/>
                  </a:lnTo>
                  <a:lnTo>
                    <a:pt x="966" y="2230"/>
                  </a:lnTo>
                  <a:lnTo>
                    <a:pt x="984" y="2195"/>
                  </a:lnTo>
                  <a:lnTo>
                    <a:pt x="984" y="2178"/>
                  </a:lnTo>
                  <a:lnTo>
                    <a:pt x="1036" y="2125"/>
                  </a:lnTo>
                  <a:lnTo>
                    <a:pt x="1089" y="2090"/>
                  </a:lnTo>
                  <a:lnTo>
                    <a:pt x="1124" y="2037"/>
                  </a:lnTo>
                  <a:lnTo>
                    <a:pt x="1177" y="2002"/>
                  </a:lnTo>
                  <a:lnTo>
                    <a:pt x="1282" y="1949"/>
                  </a:lnTo>
                  <a:lnTo>
                    <a:pt x="1317" y="1932"/>
                  </a:lnTo>
                  <a:lnTo>
                    <a:pt x="1335" y="1914"/>
                  </a:lnTo>
                  <a:lnTo>
                    <a:pt x="1352" y="1896"/>
                  </a:lnTo>
                  <a:lnTo>
                    <a:pt x="1370" y="1914"/>
                  </a:lnTo>
                  <a:lnTo>
                    <a:pt x="1370" y="1932"/>
                  </a:lnTo>
                  <a:lnTo>
                    <a:pt x="1388" y="1984"/>
                  </a:lnTo>
                  <a:lnTo>
                    <a:pt x="1405" y="2019"/>
                  </a:lnTo>
                  <a:lnTo>
                    <a:pt x="1423" y="2037"/>
                  </a:lnTo>
                  <a:lnTo>
                    <a:pt x="1440" y="2055"/>
                  </a:lnTo>
                  <a:lnTo>
                    <a:pt x="1493" y="2037"/>
                  </a:lnTo>
                  <a:lnTo>
                    <a:pt x="1528" y="2002"/>
                  </a:lnTo>
                  <a:lnTo>
                    <a:pt x="1563" y="1984"/>
                  </a:lnTo>
                  <a:lnTo>
                    <a:pt x="1634" y="1984"/>
                  </a:lnTo>
                  <a:lnTo>
                    <a:pt x="1669" y="1967"/>
                  </a:lnTo>
                  <a:lnTo>
                    <a:pt x="1686" y="1949"/>
                  </a:lnTo>
                  <a:lnTo>
                    <a:pt x="1704" y="1914"/>
                  </a:lnTo>
                  <a:lnTo>
                    <a:pt x="1704" y="1861"/>
                  </a:lnTo>
                  <a:lnTo>
                    <a:pt x="1704" y="1791"/>
                  </a:lnTo>
                  <a:lnTo>
                    <a:pt x="1739" y="1738"/>
                  </a:lnTo>
                  <a:lnTo>
                    <a:pt x="1739" y="1668"/>
                  </a:lnTo>
                  <a:lnTo>
                    <a:pt x="1757" y="1633"/>
                  </a:lnTo>
                  <a:lnTo>
                    <a:pt x="1774" y="1633"/>
                  </a:lnTo>
                  <a:lnTo>
                    <a:pt x="1809" y="1651"/>
                  </a:lnTo>
                  <a:lnTo>
                    <a:pt x="1844" y="1633"/>
                  </a:lnTo>
                  <a:lnTo>
                    <a:pt x="1879" y="1615"/>
                  </a:lnTo>
                  <a:lnTo>
                    <a:pt x="1827" y="1352"/>
                  </a:lnTo>
                  <a:lnTo>
                    <a:pt x="1827" y="1334"/>
                  </a:lnTo>
                  <a:lnTo>
                    <a:pt x="1827" y="1317"/>
                  </a:lnTo>
                  <a:lnTo>
                    <a:pt x="1879" y="1282"/>
                  </a:lnTo>
                  <a:lnTo>
                    <a:pt x="1915" y="1229"/>
                  </a:lnTo>
                  <a:lnTo>
                    <a:pt x="1932" y="1176"/>
                  </a:lnTo>
                  <a:lnTo>
                    <a:pt x="1932" y="1141"/>
                  </a:lnTo>
                  <a:lnTo>
                    <a:pt x="1915" y="1106"/>
                  </a:lnTo>
                  <a:lnTo>
                    <a:pt x="1862" y="1089"/>
                  </a:lnTo>
                  <a:lnTo>
                    <a:pt x="1792" y="1089"/>
                  </a:lnTo>
                  <a:lnTo>
                    <a:pt x="1686" y="1089"/>
                  </a:lnTo>
                  <a:lnTo>
                    <a:pt x="1598" y="1089"/>
                  </a:lnTo>
                  <a:lnTo>
                    <a:pt x="1546" y="1106"/>
                  </a:lnTo>
                  <a:lnTo>
                    <a:pt x="1511" y="1124"/>
                  </a:lnTo>
                  <a:lnTo>
                    <a:pt x="1475" y="1159"/>
                  </a:lnTo>
                  <a:lnTo>
                    <a:pt x="1458" y="1211"/>
                  </a:lnTo>
                  <a:lnTo>
                    <a:pt x="1423" y="1229"/>
                  </a:lnTo>
                  <a:lnTo>
                    <a:pt x="1405" y="1247"/>
                  </a:lnTo>
                  <a:lnTo>
                    <a:pt x="1352" y="1229"/>
                  </a:lnTo>
                  <a:lnTo>
                    <a:pt x="1335" y="1211"/>
                  </a:lnTo>
                  <a:lnTo>
                    <a:pt x="1335" y="1194"/>
                  </a:lnTo>
                  <a:lnTo>
                    <a:pt x="1352" y="1176"/>
                  </a:lnTo>
                  <a:lnTo>
                    <a:pt x="1440" y="1124"/>
                  </a:lnTo>
                  <a:lnTo>
                    <a:pt x="1475" y="1071"/>
                  </a:lnTo>
                  <a:lnTo>
                    <a:pt x="1475" y="1018"/>
                  </a:lnTo>
                  <a:lnTo>
                    <a:pt x="1458" y="930"/>
                  </a:lnTo>
                  <a:lnTo>
                    <a:pt x="1423" y="878"/>
                  </a:lnTo>
                  <a:lnTo>
                    <a:pt x="1388" y="860"/>
                  </a:lnTo>
                  <a:lnTo>
                    <a:pt x="1352" y="843"/>
                  </a:lnTo>
                  <a:lnTo>
                    <a:pt x="1265" y="825"/>
                  </a:lnTo>
                  <a:lnTo>
                    <a:pt x="1229" y="808"/>
                  </a:lnTo>
                  <a:lnTo>
                    <a:pt x="1212" y="790"/>
                  </a:lnTo>
                  <a:lnTo>
                    <a:pt x="1212" y="755"/>
                  </a:lnTo>
                  <a:lnTo>
                    <a:pt x="1247" y="737"/>
                  </a:lnTo>
                  <a:lnTo>
                    <a:pt x="1317" y="737"/>
                  </a:lnTo>
                  <a:lnTo>
                    <a:pt x="1352" y="737"/>
                  </a:lnTo>
                  <a:lnTo>
                    <a:pt x="1388" y="720"/>
                  </a:lnTo>
                  <a:lnTo>
                    <a:pt x="1405" y="685"/>
                  </a:lnTo>
                  <a:lnTo>
                    <a:pt x="1388" y="632"/>
                  </a:lnTo>
                  <a:lnTo>
                    <a:pt x="1388" y="579"/>
                  </a:lnTo>
                  <a:lnTo>
                    <a:pt x="1405" y="544"/>
                  </a:lnTo>
                  <a:lnTo>
                    <a:pt x="1440" y="544"/>
                  </a:lnTo>
                  <a:lnTo>
                    <a:pt x="1475" y="544"/>
                  </a:lnTo>
                  <a:lnTo>
                    <a:pt x="1528" y="544"/>
                  </a:lnTo>
                  <a:lnTo>
                    <a:pt x="1546" y="544"/>
                  </a:lnTo>
                  <a:lnTo>
                    <a:pt x="1581" y="526"/>
                  </a:lnTo>
                  <a:lnTo>
                    <a:pt x="1581" y="509"/>
                  </a:lnTo>
                  <a:lnTo>
                    <a:pt x="1598" y="474"/>
                  </a:lnTo>
                  <a:lnTo>
                    <a:pt x="1616" y="456"/>
                  </a:lnTo>
                  <a:lnTo>
                    <a:pt x="1634" y="439"/>
                  </a:lnTo>
                  <a:lnTo>
                    <a:pt x="1669" y="439"/>
                  </a:lnTo>
                  <a:lnTo>
                    <a:pt x="1686" y="421"/>
                  </a:lnTo>
                  <a:lnTo>
                    <a:pt x="1721" y="368"/>
                  </a:lnTo>
                  <a:lnTo>
                    <a:pt x="1739" y="298"/>
                  </a:lnTo>
                  <a:lnTo>
                    <a:pt x="1721" y="263"/>
                  </a:lnTo>
                  <a:lnTo>
                    <a:pt x="1686" y="281"/>
                  </a:lnTo>
                  <a:lnTo>
                    <a:pt x="1651" y="281"/>
                  </a:lnTo>
                  <a:lnTo>
                    <a:pt x="1616" y="281"/>
                  </a:lnTo>
                  <a:lnTo>
                    <a:pt x="1598" y="263"/>
                  </a:lnTo>
                  <a:lnTo>
                    <a:pt x="1546" y="228"/>
                  </a:lnTo>
                  <a:lnTo>
                    <a:pt x="1528" y="228"/>
                  </a:lnTo>
                  <a:lnTo>
                    <a:pt x="1475" y="245"/>
                  </a:lnTo>
                  <a:lnTo>
                    <a:pt x="1458" y="245"/>
                  </a:lnTo>
                  <a:lnTo>
                    <a:pt x="1458" y="228"/>
                  </a:lnTo>
                  <a:lnTo>
                    <a:pt x="1493" y="175"/>
                  </a:lnTo>
                  <a:lnTo>
                    <a:pt x="1493" y="140"/>
                  </a:lnTo>
                  <a:lnTo>
                    <a:pt x="1493" y="87"/>
                  </a:lnTo>
                  <a:lnTo>
                    <a:pt x="1458" y="35"/>
                  </a:lnTo>
                  <a:lnTo>
                    <a:pt x="1405" y="0"/>
                  </a:lnTo>
                  <a:lnTo>
                    <a:pt x="1317" y="52"/>
                  </a:lnTo>
                  <a:lnTo>
                    <a:pt x="1229" y="105"/>
                  </a:lnTo>
                  <a:lnTo>
                    <a:pt x="1194" y="140"/>
                  </a:lnTo>
                  <a:lnTo>
                    <a:pt x="1177" y="175"/>
                  </a:lnTo>
                  <a:lnTo>
                    <a:pt x="1159" y="228"/>
                  </a:lnTo>
                  <a:lnTo>
                    <a:pt x="1159" y="298"/>
                  </a:lnTo>
                  <a:lnTo>
                    <a:pt x="1194" y="281"/>
                  </a:lnTo>
                  <a:lnTo>
                    <a:pt x="1247" y="298"/>
                  </a:lnTo>
                  <a:lnTo>
                    <a:pt x="1300" y="316"/>
                  </a:lnTo>
                  <a:lnTo>
                    <a:pt x="1282" y="386"/>
                  </a:lnTo>
                  <a:lnTo>
                    <a:pt x="1265" y="386"/>
                  </a:lnTo>
                  <a:lnTo>
                    <a:pt x="1229" y="404"/>
                  </a:lnTo>
                  <a:lnTo>
                    <a:pt x="1194" y="386"/>
                  </a:lnTo>
                  <a:lnTo>
                    <a:pt x="1142" y="368"/>
                  </a:lnTo>
                  <a:lnTo>
                    <a:pt x="1089" y="351"/>
                  </a:lnTo>
                  <a:lnTo>
                    <a:pt x="1001" y="368"/>
                  </a:lnTo>
                  <a:lnTo>
                    <a:pt x="861" y="491"/>
                  </a:lnTo>
                  <a:lnTo>
                    <a:pt x="702" y="597"/>
                  </a:lnTo>
                  <a:lnTo>
                    <a:pt x="562" y="702"/>
                  </a:lnTo>
                  <a:lnTo>
                    <a:pt x="492" y="772"/>
                  </a:lnTo>
                  <a:lnTo>
                    <a:pt x="439" y="843"/>
                  </a:lnTo>
                  <a:lnTo>
                    <a:pt x="369" y="948"/>
                  </a:lnTo>
                  <a:lnTo>
                    <a:pt x="316" y="1071"/>
                  </a:lnTo>
                  <a:lnTo>
                    <a:pt x="211" y="1211"/>
                  </a:lnTo>
                  <a:lnTo>
                    <a:pt x="193" y="1247"/>
                  </a:lnTo>
                  <a:lnTo>
                    <a:pt x="193" y="1282"/>
                  </a:lnTo>
                  <a:lnTo>
                    <a:pt x="246" y="1299"/>
                  </a:lnTo>
                  <a:lnTo>
                    <a:pt x="281" y="1317"/>
                  </a:lnTo>
                  <a:lnTo>
                    <a:pt x="351" y="1317"/>
                  </a:lnTo>
                  <a:lnTo>
                    <a:pt x="386" y="1317"/>
                  </a:lnTo>
                  <a:lnTo>
                    <a:pt x="404" y="1317"/>
                  </a:lnTo>
                  <a:lnTo>
                    <a:pt x="421" y="1334"/>
                  </a:lnTo>
                  <a:lnTo>
                    <a:pt x="439" y="1387"/>
                  </a:lnTo>
                  <a:lnTo>
                    <a:pt x="421" y="1422"/>
                  </a:lnTo>
                  <a:lnTo>
                    <a:pt x="404" y="1440"/>
                  </a:lnTo>
                  <a:lnTo>
                    <a:pt x="386" y="1457"/>
                  </a:lnTo>
                  <a:lnTo>
                    <a:pt x="334" y="1440"/>
                  </a:lnTo>
                  <a:lnTo>
                    <a:pt x="298" y="1475"/>
                  </a:lnTo>
                  <a:lnTo>
                    <a:pt x="263" y="1493"/>
                  </a:lnTo>
                  <a:lnTo>
                    <a:pt x="228" y="1475"/>
                  </a:lnTo>
                  <a:lnTo>
                    <a:pt x="175" y="1457"/>
                  </a:lnTo>
                  <a:lnTo>
                    <a:pt x="158" y="1457"/>
                  </a:lnTo>
                  <a:lnTo>
                    <a:pt x="158" y="1493"/>
                  </a:lnTo>
                  <a:lnTo>
                    <a:pt x="158" y="1545"/>
                  </a:lnTo>
                  <a:lnTo>
                    <a:pt x="158" y="1615"/>
                  </a:lnTo>
                  <a:lnTo>
                    <a:pt x="123" y="1668"/>
                  </a:lnTo>
                  <a:lnTo>
                    <a:pt x="70" y="1721"/>
                  </a:lnTo>
                  <a:lnTo>
                    <a:pt x="17" y="1774"/>
                  </a:lnTo>
                  <a:lnTo>
                    <a:pt x="0" y="1809"/>
                  </a:lnTo>
                  <a:lnTo>
                    <a:pt x="0" y="1844"/>
                  </a:lnTo>
                  <a:lnTo>
                    <a:pt x="0" y="1861"/>
                  </a:lnTo>
                  <a:lnTo>
                    <a:pt x="35" y="1861"/>
                  </a:lnTo>
                  <a:lnTo>
                    <a:pt x="35" y="1879"/>
                  </a:lnTo>
                  <a:lnTo>
                    <a:pt x="88" y="1879"/>
                  </a:lnTo>
                  <a:lnTo>
                    <a:pt x="158" y="1914"/>
                  </a:lnTo>
                  <a:lnTo>
                    <a:pt x="193" y="1949"/>
                  </a:lnTo>
                  <a:lnTo>
                    <a:pt x="228" y="2002"/>
                  </a:lnTo>
                  <a:lnTo>
                    <a:pt x="211" y="2037"/>
                  </a:lnTo>
                  <a:lnTo>
                    <a:pt x="211" y="2055"/>
                  </a:lnTo>
                  <a:lnTo>
                    <a:pt x="193" y="2072"/>
                  </a:lnTo>
                  <a:lnTo>
                    <a:pt x="175" y="2107"/>
                  </a:lnTo>
                  <a:lnTo>
                    <a:pt x="193" y="2125"/>
                  </a:lnTo>
                  <a:lnTo>
                    <a:pt x="158" y="2178"/>
                  </a:lnTo>
                  <a:lnTo>
                    <a:pt x="140" y="2213"/>
                  </a:lnTo>
                  <a:lnTo>
                    <a:pt x="105" y="2248"/>
                  </a:lnTo>
                  <a:lnTo>
                    <a:pt x="105" y="2300"/>
                  </a:lnTo>
                  <a:lnTo>
                    <a:pt x="105" y="2318"/>
                  </a:lnTo>
                  <a:lnTo>
                    <a:pt x="123" y="2336"/>
                  </a:lnTo>
                  <a:lnTo>
                    <a:pt x="158" y="2336"/>
                  </a:lnTo>
                  <a:lnTo>
                    <a:pt x="158" y="2353"/>
                  </a:lnTo>
                  <a:lnTo>
                    <a:pt x="158" y="2388"/>
                  </a:lnTo>
                  <a:lnTo>
                    <a:pt x="193" y="2406"/>
                  </a:lnTo>
                  <a:lnTo>
                    <a:pt x="246" y="2423"/>
                  </a:lnTo>
                  <a:lnTo>
                    <a:pt x="316" y="2406"/>
                  </a:lnTo>
                  <a:lnTo>
                    <a:pt x="351" y="2423"/>
                  </a:lnTo>
                  <a:lnTo>
                    <a:pt x="369" y="2459"/>
                  </a:lnTo>
                  <a:lnTo>
                    <a:pt x="386" y="2476"/>
                  </a:lnTo>
                  <a:lnTo>
                    <a:pt x="404" y="2494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62"/>
            <p:cNvSpPr>
              <a:spLocks/>
            </p:cNvSpPr>
            <p:nvPr/>
          </p:nvSpPr>
          <p:spPr bwMode="auto">
            <a:xfrm>
              <a:off x="7057457" y="4457501"/>
              <a:ext cx="1203348" cy="840930"/>
            </a:xfrm>
            <a:custGeom>
              <a:avLst/>
              <a:gdLst>
                <a:gd name="T0" fmla="*/ 1985 w 1985"/>
                <a:gd name="T1" fmla="*/ 1159 h 1387"/>
                <a:gd name="T2" fmla="*/ 1862 w 1985"/>
                <a:gd name="T3" fmla="*/ 1018 h 1387"/>
                <a:gd name="T4" fmla="*/ 1810 w 1985"/>
                <a:gd name="T5" fmla="*/ 1018 h 1387"/>
                <a:gd name="T6" fmla="*/ 1739 w 1985"/>
                <a:gd name="T7" fmla="*/ 983 h 1387"/>
                <a:gd name="T8" fmla="*/ 1722 w 1985"/>
                <a:gd name="T9" fmla="*/ 843 h 1387"/>
                <a:gd name="T10" fmla="*/ 1704 w 1985"/>
                <a:gd name="T11" fmla="*/ 755 h 1387"/>
                <a:gd name="T12" fmla="*/ 1774 w 1985"/>
                <a:gd name="T13" fmla="*/ 685 h 1387"/>
                <a:gd name="T14" fmla="*/ 1774 w 1985"/>
                <a:gd name="T15" fmla="*/ 615 h 1387"/>
                <a:gd name="T16" fmla="*/ 1827 w 1985"/>
                <a:gd name="T17" fmla="*/ 527 h 1387"/>
                <a:gd name="T18" fmla="*/ 1774 w 1985"/>
                <a:gd name="T19" fmla="*/ 492 h 1387"/>
                <a:gd name="T20" fmla="*/ 1792 w 1985"/>
                <a:gd name="T21" fmla="*/ 421 h 1387"/>
                <a:gd name="T22" fmla="*/ 1915 w 1985"/>
                <a:gd name="T23" fmla="*/ 404 h 1387"/>
                <a:gd name="T24" fmla="*/ 1915 w 1985"/>
                <a:gd name="T25" fmla="*/ 333 h 1387"/>
                <a:gd name="T26" fmla="*/ 1827 w 1985"/>
                <a:gd name="T27" fmla="*/ 193 h 1387"/>
                <a:gd name="T28" fmla="*/ 1757 w 1985"/>
                <a:gd name="T29" fmla="*/ 263 h 1387"/>
                <a:gd name="T30" fmla="*/ 1687 w 1985"/>
                <a:gd name="T31" fmla="*/ 351 h 1387"/>
                <a:gd name="T32" fmla="*/ 1634 w 1985"/>
                <a:gd name="T33" fmla="*/ 404 h 1387"/>
                <a:gd name="T34" fmla="*/ 1564 w 1985"/>
                <a:gd name="T35" fmla="*/ 456 h 1387"/>
                <a:gd name="T36" fmla="*/ 1476 w 1985"/>
                <a:gd name="T37" fmla="*/ 404 h 1387"/>
                <a:gd name="T38" fmla="*/ 1388 w 1985"/>
                <a:gd name="T39" fmla="*/ 421 h 1387"/>
                <a:gd name="T40" fmla="*/ 1335 w 1985"/>
                <a:gd name="T41" fmla="*/ 386 h 1387"/>
                <a:gd name="T42" fmla="*/ 1370 w 1985"/>
                <a:gd name="T43" fmla="*/ 281 h 1387"/>
                <a:gd name="T44" fmla="*/ 1388 w 1985"/>
                <a:gd name="T45" fmla="*/ 211 h 1387"/>
                <a:gd name="T46" fmla="*/ 1423 w 1985"/>
                <a:gd name="T47" fmla="*/ 52 h 1387"/>
                <a:gd name="T48" fmla="*/ 1318 w 1985"/>
                <a:gd name="T49" fmla="*/ 0 h 1387"/>
                <a:gd name="T50" fmla="*/ 1195 w 1985"/>
                <a:gd name="T51" fmla="*/ 88 h 1387"/>
                <a:gd name="T52" fmla="*/ 1089 w 1985"/>
                <a:gd name="T53" fmla="*/ 158 h 1387"/>
                <a:gd name="T54" fmla="*/ 966 w 1985"/>
                <a:gd name="T55" fmla="*/ 263 h 1387"/>
                <a:gd name="T56" fmla="*/ 879 w 1985"/>
                <a:gd name="T57" fmla="*/ 298 h 1387"/>
                <a:gd name="T58" fmla="*/ 738 w 1985"/>
                <a:gd name="T59" fmla="*/ 386 h 1387"/>
                <a:gd name="T60" fmla="*/ 562 w 1985"/>
                <a:gd name="T61" fmla="*/ 439 h 1387"/>
                <a:gd name="T62" fmla="*/ 474 w 1985"/>
                <a:gd name="T63" fmla="*/ 386 h 1387"/>
                <a:gd name="T64" fmla="*/ 334 w 1985"/>
                <a:gd name="T65" fmla="*/ 404 h 1387"/>
                <a:gd name="T66" fmla="*/ 88 w 1985"/>
                <a:gd name="T67" fmla="*/ 404 h 1387"/>
                <a:gd name="T68" fmla="*/ 18 w 1985"/>
                <a:gd name="T69" fmla="*/ 456 h 1387"/>
                <a:gd name="T70" fmla="*/ 18 w 1985"/>
                <a:gd name="T71" fmla="*/ 544 h 1387"/>
                <a:gd name="T72" fmla="*/ 70 w 1985"/>
                <a:gd name="T73" fmla="*/ 562 h 1387"/>
                <a:gd name="T74" fmla="*/ 106 w 1985"/>
                <a:gd name="T75" fmla="*/ 597 h 1387"/>
                <a:gd name="T76" fmla="*/ 158 w 1985"/>
                <a:gd name="T77" fmla="*/ 632 h 1387"/>
                <a:gd name="T78" fmla="*/ 228 w 1985"/>
                <a:gd name="T79" fmla="*/ 597 h 1387"/>
                <a:gd name="T80" fmla="*/ 281 w 1985"/>
                <a:gd name="T81" fmla="*/ 667 h 1387"/>
                <a:gd name="T82" fmla="*/ 316 w 1985"/>
                <a:gd name="T83" fmla="*/ 650 h 1387"/>
                <a:gd name="T84" fmla="*/ 369 w 1985"/>
                <a:gd name="T85" fmla="*/ 773 h 1387"/>
                <a:gd name="T86" fmla="*/ 404 w 1985"/>
                <a:gd name="T87" fmla="*/ 808 h 1387"/>
                <a:gd name="T88" fmla="*/ 422 w 1985"/>
                <a:gd name="T89" fmla="*/ 860 h 1387"/>
                <a:gd name="T90" fmla="*/ 439 w 1985"/>
                <a:gd name="T91" fmla="*/ 931 h 1387"/>
                <a:gd name="T92" fmla="*/ 510 w 1985"/>
                <a:gd name="T93" fmla="*/ 1018 h 1387"/>
                <a:gd name="T94" fmla="*/ 668 w 1985"/>
                <a:gd name="T95" fmla="*/ 931 h 1387"/>
                <a:gd name="T96" fmla="*/ 914 w 1985"/>
                <a:gd name="T97" fmla="*/ 896 h 1387"/>
                <a:gd name="T98" fmla="*/ 1247 w 1985"/>
                <a:gd name="T99" fmla="*/ 1124 h 1387"/>
                <a:gd name="T100" fmla="*/ 1529 w 1985"/>
                <a:gd name="T101" fmla="*/ 1370 h 1387"/>
                <a:gd name="T102" fmla="*/ 1687 w 1985"/>
                <a:gd name="T103" fmla="*/ 1317 h 1387"/>
                <a:gd name="T104" fmla="*/ 1933 w 1985"/>
                <a:gd name="T105" fmla="*/ 1317 h 1387"/>
                <a:gd name="T106" fmla="*/ 1985 w 1985"/>
                <a:gd name="T107" fmla="*/ 1177 h 1387"/>
                <a:gd name="T108" fmla="*/ 1985 w 1985"/>
                <a:gd name="T109" fmla="*/ 1159 h 138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985"/>
                <a:gd name="T166" fmla="*/ 0 h 1387"/>
                <a:gd name="T167" fmla="*/ 1985 w 1985"/>
                <a:gd name="T168" fmla="*/ 1387 h 138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985" h="1387">
                  <a:moveTo>
                    <a:pt x="1985" y="1159"/>
                  </a:moveTo>
                  <a:lnTo>
                    <a:pt x="1985" y="1159"/>
                  </a:lnTo>
                  <a:lnTo>
                    <a:pt x="1950" y="1124"/>
                  </a:lnTo>
                  <a:lnTo>
                    <a:pt x="1915" y="1071"/>
                  </a:lnTo>
                  <a:lnTo>
                    <a:pt x="1880" y="1036"/>
                  </a:lnTo>
                  <a:lnTo>
                    <a:pt x="1862" y="1018"/>
                  </a:lnTo>
                  <a:lnTo>
                    <a:pt x="1845" y="1018"/>
                  </a:lnTo>
                  <a:lnTo>
                    <a:pt x="1810" y="1018"/>
                  </a:lnTo>
                  <a:lnTo>
                    <a:pt x="1792" y="1001"/>
                  </a:lnTo>
                  <a:lnTo>
                    <a:pt x="1774" y="983"/>
                  </a:lnTo>
                  <a:lnTo>
                    <a:pt x="1739" y="983"/>
                  </a:lnTo>
                  <a:lnTo>
                    <a:pt x="1722" y="966"/>
                  </a:lnTo>
                  <a:lnTo>
                    <a:pt x="1722" y="896"/>
                  </a:lnTo>
                  <a:lnTo>
                    <a:pt x="1722" y="843"/>
                  </a:lnTo>
                  <a:lnTo>
                    <a:pt x="1739" y="808"/>
                  </a:lnTo>
                  <a:lnTo>
                    <a:pt x="1722" y="790"/>
                  </a:lnTo>
                  <a:lnTo>
                    <a:pt x="1704" y="755"/>
                  </a:lnTo>
                  <a:lnTo>
                    <a:pt x="1722" y="737"/>
                  </a:lnTo>
                  <a:lnTo>
                    <a:pt x="1739" y="702"/>
                  </a:lnTo>
                  <a:lnTo>
                    <a:pt x="1774" y="685"/>
                  </a:lnTo>
                  <a:lnTo>
                    <a:pt x="1774" y="650"/>
                  </a:lnTo>
                  <a:lnTo>
                    <a:pt x="1774" y="615"/>
                  </a:lnTo>
                  <a:lnTo>
                    <a:pt x="1792" y="579"/>
                  </a:lnTo>
                  <a:lnTo>
                    <a:pt x="1810" y="562"/>
                  </a:lnTo>
                  <a:lnTo>
                    <a:pt x="1827" y="544"/>
                  </a:lnTo>
                  <a:lnTo>
                    <a:pt x="1827" y="527"/>
                  </a:lnTo>
                  <a:lnTo>
                    <a:pt x="1827" y="509"/>
                  </a:lnTo>
                  <a:lnTo>
                    <a:pt x="1792" y="492"/>
                  </a:lnTo>
                  <a:lnTo>
                    <a:pt x="1774" y="492"/>
                  </a:lnTo>
                  <a:lnTo>
                    <a:pt x="1774" y="456"/>
                  </a:lnTo>
                  <a:lnTo>
                    <a:pt x="1792" y="421"/>
                  </a:lnTo>
                  <a:lnTo>
                    <a:pt x="1862" y="421"/>
                  </a:lnTo>
                  <a:lnTo>
                    <a:pt x="1915" y="404"/>
                  </a:lnTo>
                  <a:lnTo>
                    <a:pt x="1933" y="404"/>
                  </a:lnTo>
                  <a:lnTo>
                    <a:pt x="1933" y="386"/>
                  </a:lnTo>
                  <a:lnTo>
                    <a:pt x="1915" y="333"/>
                  </a:lnTo>
                  <a:lnTo>
                    <a:pt x="1897" y="281"/>
                  </a:lnTo>
                  <a:lnTo>
                    <a:pt x="1862" y="228"/>
                  </a:lnTo>
                  <a:lnTo>
                    <a:pt x="1827" y="193"/>
                  </a:lnTo>
                  <a:lnTo>
                    <a:pt x="1810" y="211"/>
                  </a:lnTo>
                  <a:lnTo>
                    <a:pt x="1792" y="228"/>
                  </a:lnTo>
                  <a:lnTo>
                    <a:pt x="1757" y="263"/>
                  </a:lnTo>
                  <a:lnTo>
                    <a:pt x="1722" y="281"/>
                  </a:lnTo>
                  <a:lnTo>
                    <a:pt x="1704" y="298"/>
                  </a:lnTo>
                  <a:lnTo>
                    <a:pt x="1687" y="351"/>
                  </a:lnTo>
                  <a:lnTo>
                    <a:pt x="1669" y="369"/>
                  </a:lnTo>
                  <a:lnTo>
                    <a:pt x="1651" y="404"/>
                  </a:lnTo>
                  <a:lnTo>
                    <a:pt x="1634" y="404"/>
                  </a:lnTo>
                  <a:lnTo>
                    <a:pt x="1599" y="421"/>
                  </a:lnTo>
                  <a:lnTo>
                    <a:pt x="1581" y="456"/>
                  </a:lnTo>
                  <a:lnTo>
                    <a:pt x="1564" y="456"/>
                  </a:lnTo>
                  <a:lnTo>
                    <a:pt x="1529" y="456"/>
                  </a:lnTo>
                  <a:lnTo>
                    <a:pt x="1511" y="439"/>
                  </a:lnTo>
                  <a:lnTo>
                    <a:pt x="1476" y="404"/>
                  </a:lnTo>
                  <a:lnTo>
                    <a:pt x="1458" y="404"/>
                  </a:lnTo>
                  <a:lnTo>
                    <a:pt x="1423" y="421"/>
                  </a:lnTo>
                  <a:lnTo>
                    <a:pt x="1388" y="421"/>
                  </a:lnTo>
                  <a:lnTo>
                    <a:pt x="1353" y="421"/>
                  </a:lnTo>
                  <a:lnTo>
                    <a:pt x="1335" y="386"/>
                  </a:lnTo>
                  <a:lnTo>
                    <a:pt x="1353" y="351"/>
                  </a:lnTo>
                  <a:lnTo>
                    <a:pt x="1370" y="298"/>
                  </a:lnTo>
                  <a:lnTo>
                    <a:pt x="1370" y="281"/>
                  </a:lnTo>
                  <a:lnTo>
                    <a:pt x="1353" y="246"/>
                  </a:lnTo>
                  <a:lnTo>
                    <a:pt x="1370" y="228"/>
                  </a:lnTo>
                  <a:lnTo>
                    <a:pt x="1388" y="211"/>
                  </a:lnTo>
                  <a:lnTo>
                    <a:pt x="1406" y="140"/>
                  </a:lnTo>
                  <a:lnTo>
                    <a:pt x="1423" y="52"/>
                  </a:lnTo>
                  <a:lnTo>
                    <a:pt x="1406" y="17"/>
                  </a:lnTo>
                  <a:lnTo>
                    <a:pt x="1353" y="0"/>
                  </a:lnTo>
                  <a:lnTo>
                    <a:pt x="1318" y="0"/>
                  </a:lnTo>
                  <a:lnTo>
                    <a:pt x="1283" y="17"/>
                  </a:lnTo>
                  <a:lnTo>
                    <a:pt x="1230" y="88"/>
                  </a:lnTo>
                  <a:lnTo>
                    <a:pt x="1195" y="88"/>
                  </a:lnTo>
                  <a:lnTo>
                    <a:pt x="1142" y="123"/>
                  </a:lnTo>
                  <a:lnTo>
                    <a:pt x="1089" y="158"/>
                  </a:lnTo>
                  <a:lnTo>
                    <a:pt x="1054" y="211"/>
                  </a:lnTo>
                  <a:lnTo>
                    <a:pt x="1001" y="263"/>
                  </a:lnTo>
                  <a:lnTo>
                    <a:pt x="966" y="263"/>
                  </a:lnTo>
                  <a:lnTo>
                    <a:pt x="931" y="281"/>
                  </a:lnTo>
                  <a:lnTo>
                    <a:pt x="914" y="281"/>
                  </a:lnTo>
                  <a:lnTo>
                    <a:pt x="879" y="298"/>
                  </a:lnTo>
                  <a:lnTo>
                    <a:pt x="826" y="351"/>
                  </a:lnTo>
                  <a:lnTo>
                    <a:pt x="791" y="369"/>
                  </a:lnTo>
                  <a:lnTo>
                    <a:pt x="738" y="386"/>
                  </a:lnTo>
                  <a:lnTo>
                    <a:pt x="685" y="386"/>
                  </a:lnTo>
                  <a:lnTo>
                    <a:pt x="650" y="404"/>
                  </a:lnTo>
                  <a:lnTo>
                    <a:pt x="615" y="421"/>
                  </a:lnTo>
                  <a:lnTo>
                    <a:pt x="562" y="439"/>
                  </a:lnTo>
                  <a:lnTo>
                    <a:pt x="527" y="421"/>
                  </a:lnTo>
                  <a:lnTo>
                    <a:pt x="492" y="404"/>
                  </a:lnTo>
                  <a:lnTo>
                    <a:pt x="474" y="386"/>
                  </a:lnTo>
                  <a:lnTo>
                    <a:pt x="439" y="369"/>
                  </a:lnTo>
                  <a:lnTo>
                    <a:pt x="387" y="386"/>
                  </a:lnTo>
                  <a:lnTo>
                    <a:pt x="334" y="404"/>
                  </a:lnTo>
                  <a:lnTo>
                    <a:pt x="123" y="404"/>
                  </a:lnTo>
                  <a:lnTo>
                    <a:pt x="88" y="404"/>
                  </a:lnTo>
                  <a:lnTo>
                    <a:pt x="70" y="421"/>
                  </a:lnTo>
                  <a:lnTo>
                    <a:pt x="18" y="474"/>
                  </a:lnTo>
                  <a:lnTo>
                    <a:pt x="18" y="456"/>
                  </a:lnTo>
                  <a:lnTo>
                    <a:pt x="0" y="492"/>
                  </a:lnTo>
                  <a:lnTo>
                    <a:pt x="0" y="509"/>
                  </a:lnTo>
                  <a:lnTo>
                    <a:pt x="18" y="544"/>
                  </a:lnTo>
                  <a:lnTo>
                    <a:pt x="53" y="544"/>
                  </a:lnTo>
                  <a:lnTo>
                    <a:pt x="70" y="562"/>
                  </a:lnTo>
                  <a:lnTo>
                    <a:pt x="106" y="579"/>
                  </a:lnTo>
                  <a:lnTo>
                    <a:pt x="106" y="597"/>
                  </a:lnTo>
                  <a:lnTo>
                    <a:pt x="88" y="632"/>
                  </a:lnTo>
                  <a:lnTo>
                    <a:pt x="106" y="650"/>
                  </a:lnTo>
                  <a:lnTo>
                    <a:pt x="123" y="650"/>
                  </a:lnTo>
                  <a:lnTo>
                    <a:pt x="158" y="632"/>
                  </a:lnTo>
                  <a:lnTo>
                    <a:pt x="193" y="597"/>
                  </a:lnTo>
                  <a:lnTo>
                    <a:pt x="211" y="597"/>
                  </a:lnTo>
                  <a:lnTo>
                    <a:pt x="228" y="597"/>
                  </a:lnTo>
                  <a:lnTo>
                    <a:pt x="228" y="632"/>
                  </a:lnTo>
                  <a:lnTo>
                    <a:pt x="264" y="667"/>
                  </a:lnTo>
                  <a:lnTo>
                    <a:pt x="281" y="667"/>
                  </a:lnTo>
                  <a:lnTo>
                    <a:pt x="299" y="650"/>
                  </a:lnTo>
                  <a:lnTo>
                    <a:pt x="299" y="632"/>
                  </a:lnTo>
                  <a:lnTo>
                    <a:pt x="316" y="650"/>
                  </a:lnTo>
                  <a:lnTo>
                    <a:pt x="351" y="685"/>
                  </a:lnTo>
                  <a:lnTo>
                    <a:pt x="369" y="737"/>
                  </a:lnTo>
                  <a:lnTo>
                    <a:pt x="369" y="773"/>
                  </a:lnTo>
                  <a:lnTo>
                    <a:pt x="369" y="790"/>
                  </a:lnTo>
                  <a:lnTo>
                    <a:pt x="404" y="808"/>
                  </a:lnTo>
                  <a:lnTo>
                    <a:pt x="439" y="843"/>
                  </a:lnTo>
                  <a:lnTo>
                    <a:pt x="422" y="860"/>
                  </a:lnTo>
                  <a:lnTo>
                    <a:pt x="387" y="878"/>
                  </a:lnTo>
                  <a:lnTo>
                    <a:pt x="422" y="913"/>
                  </a:lnTo>
                  <a:lnTo>
                    <a:pt x="439" y="931"/>
                  </a:lnTo>
                  <a:lnTo>
                    <a:pt x="474" y="966"/>
                  </a:lnTo>
                  <a:lnTo>
                    <a:pt x="492" y="1001"/>
                  </a:lnTo>
                  <a:lnTo>
                    <a:pt x="510" y="1018"/>
                  </a:lnTo>
                  <a:lnTo>
                    <a:pt x="597" y="948"/>
                  </a:lnTo>
                  <a:lnTo>
                    <a:pt x="668" y="931"/>
                  </a:lnTo>
                  <a:lnTo>
                    <a:pt x="791" y="913"/>
                  </a:lnTo>
                  <a:lnTo>
                    <a:pt x="861" y="896"/>
                  </a:lnTo>
                  <a:lnTo>
                    <a:pt x="914" y="896"/>
                  </a:lnTo>
                  <a:lnTo>
                    <a:pt x="1001" y="913"/>
                  </a:lnTo>
                  <a:lnTo>
                    <a:pt x="1089" y="966"/>
                  </a:lnTo>
                  <a:lnTo>
                    <a:pt x="1160" y="1036"/>
                  </a:lnTo>
                  <a:lnTo>
                    <a:pt x="1247" y="1124"/>
                  </a:lnTo>
                  <a:lnTo>
                    <a:pt x="1406" y="1282"/>
                  </a:lnTo>
                  <a:lnTo>
                    <a:pt x="1476" y="1335"/>
                  </a:lnTo>
                  <a:lnTo>
                    <a:pt x="1529" y="1370"/>
                  </a:lnTo>
                  <a:lnTo>
                    <a:pt x="1564" y="1387"/>
                  </a:lnTo>
                  <a:lnTo>
                    <a:pt x="1581" y="1387"/>
                  </a:lnTo>
                  <a:lnTo>
                    <a:pt x="1634" y="1352"/>
                  </a:lnTo>
                  <a:lnTo>
                    <a:pt x="1687" y="1317"/>
                  </a:lnTo>
                  <a:lnTo>
                    <a:pt x="1757" y="1299"/>
                  </a:lnTo>
                  <a:lnTo>
                    <a:pt x="1933" y="1317"/>
                  </a:lnTo>
                  <a:lnTo>
                    <a:pt x="1950" y="1264"/>
                  </a:lnTo>
                  <a:lnTo>
                    <a:pt x="1968" y="1194"/>
                  </a:lnTo>
                  <a:lnTo>
                    <a:pt x="1985" y="1177"/>
                  </a:lnTo>
                  <a:lnTo>
                    <a:pt x="1985" y="1159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63"/>
            <p:cNvSpPr>
              <a:spLocks/>
            </p:cNvSpPr>
            <p:nvPr/>
          </p:nvSpPr>
          <p:spPr bwMode="auto">
            <a:xfrm>
              <a:off x="3394065" y="2966623"/>
              <a:ext cx="1501609" cy="2236013"/>
            </a:xfrm>
            <a:custGeom>
              <a:avLst/>
              <a:gdLst>
                <a:gd name="T0" fmla="*/ 2389 w 2477"/>
                <a:gd name="T1" fmla="*/ 2371 h 3688"/>
                <a:gd name="T2" fmla="*/ 2442 w 2477"/>
                <a:gd name="T3" fmla="*/ 2160 h 3688"/>
                <a:gd name="T4" fmla="*/ 2336 w 2477"/>
                <a:gd name="T5" fmla="*/ 1914 h 3688"/>
                <a:gd name="T6" fmla="*/ 2266 w 2477"/>
                <a:gd name="T7" fmla="*/ 1668 h 3688"/>
                <a:gd name="T8" fmla="*/ 2196 w 2477"/>
                <a:gd name="T9" fmla="*/ 1282 h 3688"/>
                <a:gd name="T10" fmla="*/ 2266 w 2477"/>
                <a:gd name="T11" fmla="*/ 1194 h 3688"/>
                <a:gd name="T12" fmla="*/ 2213 w 2477"/>
                <a:gd name="T13" fmla="*/ 1001 h 3688"/>
                <a:gd name="T14" fmla="*/ 2038 w 2477"/>
                <a:gd name="T15" fmla="*/ 825 h 3688"/>
                <a:gd name="T16" fmla="*/ 2125 w 2477"/>
                <a:gd name="T17" fmla="*/ 544 h 3688"/>
                <a:gd name="T18" fmla="*/ 2125 w 2477"/>
                <a:gd name="T19" fmla="*/ 351 h 3688"/>
                <a:gd name="T20" fmla="*/ 2020 w 2477"/>
                <a:gd name="T21" fmla="*/ 316 h 3688"/>
                <a:gd name="T22" fmla="*/ 1897 w 2477"/>
                <a:gd name="T23" fmla="*/ 404 h 3688"/>
                <a:gd name="T24" fmla="*/ 2002 w 2477"/>
                <a:gd name="T25" fmla="*/ 579 h 3688"/>
                <a:gd name="T26" fmla="*/ 1897 w 2477"/>
                <a:gd name="T27" fmla="*/ 263 h 3688"/>
                <a:gd name="T28" fmla="*/ 1827 w 2477"/>
                <a:gd name="T29" fmla="*/ 281 h 3688"/>
                <a:gd name="T30" fmla="*/ 1704 w 2477"/>
                <a:gd name="T31" fmla="*/ 562 h 3688"/>
                <a:gd name="T32" fmla="*/ 1634 w 2477"/>
                <a:gd name="T33" fmla="*/ 931 h 3688"/>
                <a:gd name="T34" fmla="*/ 1897 w 2477"/>
                <a:gd name="T35" fmla="*/ 1141 h 3688"/>
                <a:gd name="T36" fmla="*/ 1932 w 2477"/>
                <a:gd name="T37" fmla="*/ 1335 h 3688"/>
                <a:gd name="T38" fmla="*/ 1827 w 2477"/>
                <a:gd name="T39" fmla="*/ 1054 h 3688"/>
                <a:gd name="T40" fmla="*/ 1634 w 2477"/>
                <a:gd name="T41" fmla="*/ 1229 h 3688"/>
                <a:gd name="T42" fmla="*/ 1352 w 2477"/>
                <a:gd name="T43" fmla="*/ 1475 h 3688"/>
                <a:gd name="T44" fmla="*/ 1124 w 2477"/>
                <a:gd name="T45" fmla="*/ 1317 h 3688"/>
                <a:gd name="T46" fmla="*/ 1300 w 2477"/>
                <a:gd name="T47" fmla="*/ 1405 h 3688"/>
                <a:gd name="T48" fmla="*/ 1546 w 2477"/>
                <a:gd name="T49" fmla="*/ 1089 h 3688"/>
                <a:gd name="T50" fmla="*/ 1634 w 2477"/>
                <a:gd name="T51" fmla="*/ 562 h 3688"/>
                <a:gd name="T52" fmla="*/ 1704 w 2477"/>
                <a:gd name="T53" fmla="*/ 263 h 3688"/>
                <a:gd name="T54" fmla="*/ 1528 w 2477"/>
                <a:gd name="T55" fmla="*/ 17 h 3688"/>
                <a:gd name="T56" fmla="*/ 1247 w 2477"/>
                <a:gd name="T57" fmla="*/ 316 h 3688"/>
                <a:gd name="T58" fmla="*/ 1194 w 2477"/>
                <a:gd name="T59" fmla="*/ 562 h 3688"/>
                <a:gd name="T60" fmla="*/ 1247 w 2477"/>
                <a:gd name="T61" fmla="*/ 825 h 3688"/>
                <a:gd name="T62" fmla="*/ 1001 w 2477"/>
                <a:gd name="T63" fmla="*/ 650 h 3688"/>
                <a:gd name="T64" fmla="*/ 984 w 2477"/>
                <a:gd name="T65" fmla="*/ 843 h 3688"/>
                <a:gd name="T66" fmla="*/ 966 w 2477"/>
                <a:gd name="T67" fmla="*/ 1054 h 3688"/>
                <a:gd name="T68" fmla="*/ 474 w 2477"/>
                <a:gd name="T69" fmla="*/ 1335 h 3688"/>
                <a:gd name="T70" fmla="*/ 263 w 2477"/>
                <a:gd name="T71" fmla="*/ 1387 h 3688"/>
                <a:gd name="T72" fmla="*/ 35 w 2477"/>
                <a:gd name="T73" fmla="*/ 1844 h 3688"/>
                <a:gd name="T74" fmla="*/ 123 w 2477"/>
                <a:gd name="T75" fmla="*/ 2090 h 3688"/>
                <a:gd name="T76" fmla="*/ 211 w 2477"/>
                <a:gd name="T77" fmla="*/ 2459 h 3688"/>
                <a:gd name="T78" fmla="*/ 298 w 2477"/>
                <a:gd name="T79" fmla="*/ 2687 h 3688"/>
                <a:gd name="T80" fmla="*/ 193 w 2477"/>
                <a:gd name="T81" fmla="*/ 2986 h 3688"/>
                <a:gd name="T82" fmla="*/ 105 w 2477"/>
                <a:gd name="T83" fmla="*/ 3161 h 3688"/>
                <a:gd name="T84" fmla="*/ 158 w 2477"/>
                <a:gd name="T85" fmla="*/ 3355 h 3688"/>
                <a:gd name="T86" fmla="*/ 351 w 2477"/>
                <a:gd name="T87" fmla="*/ 3495 h 3688"/>
                <a:gd name="T88" fmla="*/ 509 w 2477"/>
                <a:gd name="T89" fmla="*/ 3618 h 3688"/>
                <a:gd name="T90" fmla="*/ 650 w 2477"/>
                <a:gd name="T91" fmla="*/ 3530 h 3688"/>
                <a:gd name="T92" fmla="*/ 825 w 2477"/>
                <a:gd name="T93" fmla="*/ 3390 h 3688"/>
                <a:gd name="T94" fmla="*/ 738 w 2477"/>
                <a:gd name="T95" fmla="*/ 3284 h 3688"/>
                <a:gd name="T96" fmla="*/ 738 w 2477"/>
                <a:gd name="T97" fmla="*/ 3144 h 3688"/>
                <a:gd name="T98" fmla="*/ 843 w 2477"/>
                <a:gd name="T99" fmla="*/ 3109 h 3688"/>
                <a:gd name="T100" fmla="*/ 1159 w 2477"/>
                <a:gd name="T101" fmla="*/ 3196 h 3688"/>
                <a:gd name="T102" fmla="*/ 1335 w 2477"/>
                <a:gd name="T103" fmla="*/ 3038 h 3688"/>
                <a:gd name="T104" fmla="*/ 1511 w 2477"/>
                <a:gd name="T105" fmla="*/ 2792 h 3688"/>
                <a:gd name="T106" fmla="*/ 1774 w 2477"/>
                <a:gd name="T107" fmla="*/ 2740 h 3688"/>
                <a:gd name="T108" fmla="*/ 2055 w 2477"/>
                <a:gd name="T109" fmla="*/ 2828 h 3688"/>
                <a:gd name="T110" fmla="*/ 2266 w 2477"/>
                <a:gd name="T111" fmla="*/ 2810 h 3688"/>
                <a:gd name="T112" fmla="*/ 2371 w 2477"/>
                <a:gd name="T113" fmla="*/ 2634 h 368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77"/>
                <a:gd name="T172" fmla="*/ 0 h 3688"/>
                <a:gd name="T173" fmla="*/ 2477 w 2477"/>
                <a:gd name="T174" fmla="*/ 3688 h 368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77" h="3688">
                  <a:moveTo>
                    <a:pt x="2301" y="2494"/>
                  </a:moveTo>
                  <a:lnTo>
                    <a:pt x="2301" y="2494"/>
                  </a:lnTo>
                  <a:lnTo>
                    <a:pt x="2336" y="2494"/>
                  </a:lnTo>
                  <a:lnTo>
                    <a:pt x="2354" y="2459"/>
                  </a:lnTo>
                  <a:lnTo>
                    <a:pt x="2354" y="2424"/>
                  </a:lnTo>
                  <a:lnTo>
                    <a:pt x="2371" y="2406"/>
                  </a:lnTo>
                  <a:lnTo>
                    <a:pt x="2389" y="2371"/>
                  </a:lnTo>
                  <a:lnTo>
                    <a:pt x="2407" y="2353"/>
                  </a:lnTo>
                  <a:lnTo>
                    <a:pt x="2424" y="2336"/>
                  </a:lnTo>
                  <a:lnTo>
                    <a:pt x="2424" y="2301"/>
                  </a:lnTo>
                  <a:lnTo>
                    <a:pt x="2407" y="2283"/>
                  </a:lnTo>
                  <a:lnTo>
                    <a:pt x="2389" y="2230"/>
                  </a:lnTo>
                  <a:lnTo>
                    <a:pt x="2407" y="2178"/>
                  </a:lnTo>
                  <a:lnTo>
                    <a:pt x="2442" y="2160"/>
                  </a:lnTo>
                  <a:lnTo>
                    <a:pt x="2459" y="2125"/>
                  </a:lnTo>
                  <a:lnTo>
                    <a:pt x="2477" y="2072"/>
                  </a:lnTo>
                  <a:lnTo>
                    <a:pt x="2477" y="1967"/>
                  </a:lnTo>
                  <a:lnTo>
                    <a:pt x="2389" y="1967"/>
                  </a:lnTo>
                  <a:lnTo>
                    <a:pt x="2354" y="1932"/>
                  </a:lnTo>
                  <a:lnTo>
                    <a:pt x="2336" y="1914"/>
                  </a:lnTo>
                  <a:lnTo>
                    <a:pt x="2371" y="1879"/>
                  </a:lnTo>
                  <a:lnTo>
                    <a:pt x="2354" y="1774"/>
                  </a:lnTo>
                  <a:lnTo>
                    <a:pt x="2301" y="1739"/>
                  </a:lnTo>
                  <a:lnTo>
                    <a:pt x="2284" y="1704"/>
                  </a:lnTo>
                  <a:lnTo>
                    <a:pt x="2266" y="1668"/>
                  </a:lnTo>
                  <a:lnTo>
                    <a:pt x="2266" y="1528"/>
                  </a:lnTo>
                  <a:lnTo>
                    <a:pt x="2266" y="1510"/>
                  </a:lnTo>
                  <a:lnTo>
                    <a:pt x="2248" y="1493"/>
                  </a:lnTo>
                  <a:lnTo>
                    <a:pt x="2213" y="1458"/>
                  </a:lnTo>
                  <a:lnTo>
                    <a:pt x="2178" y="1300"/>
                  </a:lnTo>
                  <a:lnTo>
                    <a:pt x="2196" y="1282"/>
                  </a:lnTo>
                  <a:lnTo>
                    <a:pt x="2196" y="1264"/>
                  </a:lnTo>
                  <a:lnTo>
                    <a:pt x="2231" y="1264"/>
                  </a:lnTo>
                  <a:lnTo>
                    <a:pt x="2248" y="1229"/>
                  </a:lnTo>
                  <a:lnTo>
                    <a:pt x="2266" y="1194"/>
                  </a:lnTo>
                  <a:lnTo>
                    <a:pt x="2266" y="1159"/>
                  </a:lnTo>
                  <a:lnTo>
                    <a:pt x="2284" y="1124"/>
                  </a:lnTo>
                  <a:lnTo>
                    <a:pt x="2284" y="1089"/>
                  </a:lnTo>
                  <a:lnTo>
                    <a:pt x="2284" y="1054"/>
                  </a:lnTo>
                  <a:lnTo>
                    <a:pt x="2266" y="1036"/>
                  </a:lnTo>
                  <a:lnTo>
                    <a:pt x="2213" y="1001"/>
                  </a:lnTo>
                  <a:lnTo>
                    <a:pt x="2178" y="1001"/>
                  </a:lnTo>
                  <a:lnTo>
                    <a:pt x="2143" y="983"/>
                  </a:lnTo>
                  <a:lnTo>
                    <a:pt x="2090" y="948"/>
                  </a:lnTo>
                  <a:lnTo>
                    <a:pt x="2055" y="913"/>
                  </a:lnTo>
                  <a:lnTo>
                    <a:pt x="2038" y="860"/>
                  </a:lnTo>
                  <a:lnTo>
                    <a:pt x="2038" y="825"/>
                  </a:lnTo>
                  <a:lnTo>
                    <a:pt x="2055" y="790"/>
                  </a:lnTo>
                  <a:lnTo>
                    <a:pt x="2108" y="755"/>
                  </a:lnTo>
                  <a:lnTo>
                    <a:pt x="2161" y="737"/>
                  </a:lnTo>
                  <a:lnTo>
                    <a:pt x="2178" y="702"/>
                  </a:lnTo>
                  <a:lnTo>
                    <a:pt x="2178" y="667"/>
                  </a:lnTo>
                  <a:lnTo>
                    <a:pt x="2178" y="615"/>
                  </a:lnTo>
                  <a:lnTo>
                    <a:pt x="2143" y="579"/>
                  </a:lnTo>
                  <a:lnTo>
                    <a:pt x="2125" y="544"/>
                  </a:lnTo>
                  <a:lnTo>
                    <a:pt x="2108" y="509"/>
                  </a:lnTo>
                  <a:lnTo>
                    <a:pt x="2125" y="492"/>
                  </a:lnTo>
                  <a:lnTo>
                    <a:pt x="2143" y="474"/>
                  </a:lnTo>
                  <a:lnTo>
                    <a:pt x="2178" y="456"/>
                  </a:lnTo>
                  <a:lnTo>
                    <a:pt x="2178" y="404"/>
                  </a:lnTo>
                  <a:lnTo>
                    <a:pt x="2161" y="369"/>
                  </a:lnTo>
                  <a:lnTo>
                    <a:pt x="2125" y="351"/>
                  </a:lnTo>
                  <a:lnTo>
                    <a:pt x="2090" y="351"/>
                  </a:lnTo>
                  <a:lnTo>
                    <a:pt x="2090" y="316"/>
                  </a:lnTo>
                  <a:lnTo>
                    <a:pt x="2090" y="298"/>
                  </a:lnTo>
                  <a:lnTo>
                    <a:pt x="2090" y="281"/>
                  </a:lnTo>
                  <a:lnTo>
                    <a:pt x="2038" y="298"/>
                  </a:lnTo>
                  <a:lnTo>
                    <a:pt x="2020" y="316"/>
                  </a:lnTo>
                  <a:lnTo>
                    <a:pt x="2055" y="369"/>
                  </a:lnTo>
                  <a:lnTo>
                    <a:pt x="2055" y="386"/>
                  </a:lnTo>
                  <a:lnTo>
                    <a:pt x="2038" y="386"/>
                  </a:lnTo>
                  <a:lnTo>
                    <a:pt x="2002" y="369"/>
                  </a:lnTo>
                  <a:lnTo>
                    <a:pt x="1932" y="316"/>
                  </a:lnTo>
                  <a:lnTo>
                    <a:pt x="1915" y="351"/>
                  </a:lnTo>
                  <a:lnTo>
                    <a:pt x="1897" y="386"/>
                  </a:lnTo>
                  <a:lnTo>
                    <a:pt x="1897" y="404"/>
                  </a:lnTo>
                  <a:lnTo>
                    <a:pt x="1915" y="439"/>
                  </a:lnTo>
                  <a:lnTo>
                    <a:pt x="2002" y="492"/>
                  </a:lnTo>
                  <a:lnTo>
                    <a:pt x="2038" y="544"/>
                  </a:lnTo>
                  <a:lnTo>
                    <a:pt x="2038" y="579"/>
                  </a:lnTo>
                  <a:lnTo>
                    <a:pt x="2038" y="597"/>
                  </a:lnTo>
                  <a:lnTo>
                    <a:pt x="2020" y="615"/>
                  </a:lnTo>
                  <a:lnTo>
                    <a:pt x="2002" y="579"/>
                  </a:lnTo>
                  <a:lnTo>
                    <a:pt x="1967" y="527"/>
                  </a:lnTo>
                  <a:lnTo>
                    <a:pt x="1915" y="527"/>
                  </a:lnTo>
                  <a:lnTo>
                    <a:pt x="1880" y="492"/>
                  </a:lnTo>
                  <a:lnTo>
                    <a:pt x="1844" y="439"/>
                  </a:lnTo>
                  <a:lnTo>
                    <a:pt x="1844" y="386"/>
                  </a:lnTo>
                  <a:lnTo>
                    <a:pt x="1862" y="334"/>
                  </a:lnTo>
                  <a:lnTo>
                    <a:pt x="1897" y="263"/>
                  </a:lnTo>
                  <a:lnTo>
                    <a:pt x="1897" y="211"/>
                  </a:lnTo>
                  <a:lnTo>
                    <a:pt x="1897" y="105"/>
                  </a:lnTo>
                  <a:lnTo>
                    <a:pt x="1880" y="105"/>
                  </a:lnTo>
                  <a:lnTo>
                    <a:pt x="1862" y="123"/>
                  </a:lnTo>
                  <a:lnTo>
                    <a:pt x="1844" y="193"/>
                  </a:lnTo>
                  <a:lnTo>
                    <a:pt x="1844" y="263"/>
                  </a:lnTo>
                  <a:lnTo>
                    <a:pt x="1827" y="281"/>
                  </a:lnTo>
                  <a:lnTo>
                    <a:pt x="1809" y="298"/>
                  </a:lnTo>
                  <a:lnTo>
                    <a:pt x="1739" y="316"/>
                  </a:lnTo>
                  <a:lnTo>
                    <a:pt x="1704" y="351"/>
                  </a:lnTo>
                  <a:lnTo>
                    <a:pt x="1686" y="369"/>
                  </a:lnTo>
                  <a:lnTo>
                    <a:pt x="1686" y="404"/>
                  </a:lnTo>
                  <a:lnTo>
                    <a:pt x="1686" y="492"/>
                  </a:lnTo>
                  <a:lnTo>
                    <a:pt x="1704" y="562"/>
                  </a:lnTo>
                  <a:lnTo>
                    <a:pt x="1704" y="615"/>
                  </a:lnTo>
                  <a:lnTo>
                    <a:pt x="1704" y="650"/>
                  </a:lnTo>
                  <a:lnTo>
                    <a:pt x="1686" y="667"/>
                  </a:lnTo>
                  <a:lnTo>
                    <a:pt x="1651" y="755"/>
                  </a:lnTo>
                  <a:lnTo>
                    <a:pt x="1634" y="843"/>
                  </a:lnTo>
                  <a:lnTo>
                    <a:pt x="1634" y="896"/>
                  </a:lnTo>
                  <a:lnTo>
                    <a:pt x="1634" y="931"/>
                  </a:lnTo>
                  <a:lnTo>
                    <a:pt x="1686" y="948"/>
                  </a:lnTo>
                  <a:lnTo>
                    <a:pt x="1774" y="931"/>
                  </a:lnTo>
                  <a:lnTo>
                    <a:pt x="1827" y="948"/>
                  </a:lnTo>
                  <a:lnTo>
                    <a:pt x="1862" y="983"/>
                  </a:lnTo>
                  <a:lnTo>
                    <a:pt x="1880" y="1036"/>
                  </a:lnTo>
                  <a:lnTo>
                    <a:pt x="1897" y="1089"/>
                  </a:lnTo>
                  <a:lnTo>
                    <a:pt x="1897" y="1141"/>
                  </a:lnTo>
                  <a:lnTo>
                    <a:pt x="1880" y="1159"/>
                  </a:lnTo>
                  <a:lnTo>
                    <a:pt x="1844" y="1177"/>
                  </a:lnTo>
                  <a:lnTo>
                    <a:pt x="1827" y="1212"/>
                  </a:lnTo>
                  <a:lnTo>
                    <a:pt x="1844" y="1247"/>
                  </a:lnTo>
                  <a:lnTo>
                    <a:pt x="1880" y="1282"/>
                  </a:lnTo>
                  <a:lnTo>
                    <a:pt x="1915" y="1317"/>
                  </a:lnTo>
                  <a:lnTo>
                    <a:pt x="1932" y="1335"/>
                  </a:lnTo>
                  <a:lnTo>
                    <a:pt x="1897" y="1317"/>
                  </a:lnTo>
                  <a:lnTo>
                    <a:pt x="1844" y="1300"/>
                  </a:lnTo>
                  <a:lnTo>
                    <a:pt x="1827" y="1282"/>
                  </a:lnTo>
                  <a:lnTo>
                    <a:pt x="1809" y="1247"/>
                  </a:lnTo>
                  <a:lnTo>
                    <a:pt x="1827" y="1177"/>
                  </a:lnTo>
                  <a:lnTo>
                    <a:pt x="1862" y="1089"/>
                  </a:lnTo>
                  <a:lnTo>
                    <a:pt x="1827" y="1054"/>
                  </a:lnTo>
                  <a:lnTo>
                    <a:pt x="1809" y="1019"/>
                  </a:lnTo>
                  <a:lnTo>
                    <a:pt x="1774" y="983"/>
                  </a:lnTo>
                  <a:lnTo>
                    <a:pt x="1704" y="966"/>
                  </a:lnTo>
                  <a:lnTo>
                    <a:pt x="1651" y="983"/>
                  </a:lnTo>
                  <a:lnTo>
                    <a:pt x="1634" y="1036"/>
                  </a:lnTo>
                  <a:lnTo>
                    <a:pt x="1616" y="1106"/>
                  </a:lnTo>
                  <a:lnTo>
                    <a:pt x="1634" y="1229"/>
                  </a:lnTo>
                  <a:lnTo>
                    <a:pt x="1563" y="1282"/>
                  </a:lnTo>
                  <a:lnTo>
                    <a:pt x="1528" y="1335"/>
                  </a:lnTo>
                  <a:lnTo>
                    <a:pt x="1511" y="1370"/>
                  </a:lnTo>
                  <a:lnTo>
                    <a:pt x="1475" y="1387"/>
                  </a:lnTo>
                  <a:lnTo>
                    <a:pt x="1423" y="1405"/>
                  </a:lnTo>
                  <a:lnTo>
                    <a:pt x="1370" y="1422"/>
                  </a:lnTo>
                  <a:lnTo>
                    <a:pt x="1352" y="1440"/>
                  </a:lnTo>
                  <a:lnTo>
                    <a:pt x="1352" y="1475"/>
                  </a:lnTo>
                  <a:lnTo>
                    <a:pt x="1282" y="1440"/>
                  </a:lnTo>
                  <a:lnTo>
                    <a:pt x="1229" y="1422"/>
                  </a:lnTo>
                  <a:lnTo>
                    <a:pt x="1177" y="1405"/>
                  </a:lnTo>
                  <a:lnTo>
                    <a:pt x="1177" y="1387"/>
                  </a:lnTo>
                  <a:lnTo>
                    <a:pt x="1159" y="1370"/>
                  </a:lnTo>
                  <a:lnTo>
                    <a:pt x="1159" y="1335"/>
                  </a:lnTo>
                  <a:lnTo>
                    <a:pt x="1124" y="1317"/>
                  </a:lnTo>
                  <a:lnTo>
                    <a:pt x="1124" y="1300"/>
                  </a:lnTo>
                  <a:lnTo>
                    <a:pt x="1177" y="1300"/>
                  </a:lnTo>
                  <a:lnTo>
                    <a:pt x="1194" y="1300"/>
                  </a:lnTo>
                  <a:lnTo>
                    <a:pt x="1212" y="1317"/>
                  </a:lnTo>
                  <a:lnTo>
                    <a:pt x="1229" y="1352"/>
                  </a:lnTo>
                  <a:lnTo>
                    <a:pt x="1247" y="1387"/>
                  </a:lnTo>
                  <a:lnTo>
                    <a:pt x="1265" y="1405"/>
                  </a:lnTo>
                  <a:lnTo>
                    <a:pt x="1300" y="1405"/>
                  </a:lnTo>
                  <a:lnTo>
                    <a:pt x="1317" y="1405"/>
                  </a:lnTo>
                  <a:lnTo>
                    <a:pt x="1335" y="1387"/>
                  </a:lnTo>
                  <a:lnTo>
                    <a:pt x="1388" y="1317"/>
                  </a:lnTo>
                  <a:lnTo>
                    <a:pt x="1440" y="1229"/>
                  </a:lnTo>
                  <a:lnTo>
                    <a:pt x="1511" y="1159"/>
                  </a:lnTo>
                  <a:lnTo>
                    <a:pt x="1528" y="1124"/>
                  </a:lnTo>
                  <a:lnTo>
                    <a:pt x="1546" y="1089"/>
                  </a:lnTo>
                  <a:lnTo>
                    <a:pt x="1581" y="1089"/>
                  </a:lnTo>
                  <a:lnTo>
                    <a:pt x="1581" y="1071"/>
                  </a:lnTo>
                  <a:lnTo>
                    <a:pt x="1581" y="1054"/>
                  </a:lnTo>
                  <a:lnTo>
                    <a:pt x="1546" y="948"/>
                  </a:lnTo>
                  <a:lnTo>
                    <a:pt x="1528" y="896"/>
                  </a:lnTo>
                  <a:lnTo>
                    <a:pt x="1528" y="860"/>
                  </a:lnTo>
                  <a:lnTo>
                    <a:pt x="1546" y="755"/>
                  </a:lnTo>
                  <a:lnTo>
                    <a:pt x="1634" y="562"/>
                  </a:lnTo>
                  <a:lnTo>
                    <a:pt x="1651" y="492"/>
                  </a:lnTo>
                  <a:lnTo>
                    <a:pt x="1634" y="474"/>
                  </a:lnTo>
                  <a:lnTo>
                    <a:pt x="1616" y="421"/>
                  </a:lnTo>
                  <a:lnTo>
                    <a:pt x="1616" y="369"/>
                  </a:lnTo>
                  <a:lnTo>
                    <a:pt x="1651" y="316"/>
                  </a:lnTo>
                  <a:lnTo>
                    <a:pt x="1669" y="298"/>
                  </a:lnTo>
                  <a:lnTo>
                    <a:pt x="1704" y="263"/>
                  </a:lnTo>
                  <a:lnTo>
                    <a:pt x="1739" y="193"/>
                  </a:lnTo>
                  <a:lnTo>
                    <a:pt x="1739" y="140"/>
                  </a:lnTo>
                  <a:lnTo>
                    <a:pt x="1721" y="105"/>
                  </a:lnTo>
                  <a:lnTo>
                    <a:pt x="1686" y="88"/>
                  </a:lnTo>
                  <a:lnTo>
                    <a:pt x="1634" y="52"/>
                  </a:lnTo>
                  <a:lnTo>
                    <a:pt x="1546" y="0"/>
                  </a:lnTo>
                  <a:lnTo>
                    <a:pt x="1528" y="17"/>
                  </a:lnTo>
                  <a:lnTo>
                    <a:pt x="1493" y="52"/>
                  </a:lnTo>
                  <a:lnTo>
                    <a:pt x="1475" y="105"/>
                  </a:lnTo>
                  <a:lnTo>
                    <a:pt x="1423" y="193"/>
                  </a:lnTo>
                  <a:lnTo>
                    <a:pt x="1405" y="246"/>
                  </a:lnTo>
                  <a:lnTo>
                    <a:pt x="1370" y="281"/>
                  </a:lnTo>
                  <a:lnTo>
                    <a:pt x="1317" y="298"/>
                  </a:lnTo>
                  <a:lnTo>
                    <a:pt x="1247" y="316"/>
                  </a:lnTo>
                  <a:lnTo>
                    <a:pt x="1229" y="351"/>
                  </a:lnTo>
                  <a:lnTo>
                    <a:pt x="1212" y="369"/>
                  </a:lnTo>
                  <a:lnTo>
                    <a:pt x="1229" y="421"/>
                  </a:lnTo>
                  <a:lnTo>
                    <a:pt x="1247" y="456"/>
                  </a:lnTo>
                  <a:lnTo>
                    <a:pt x="1247" y="474"/>
                  </a:lnTo>
                  <a:lnTo>
                    <a:pt x="1229" y="492"/>
                  </a:lnTo>
                  <a:lnTo>
                    <a:pt x="1212" y="527"/>
                  </a:lnTo>
                  <a:lnTo>
                    <a:pt x="1194" y="562"/>
                  </a:lnTo>
                  <a:lnTo>
                    <a:pt x="1159" y="615"/>
                  </a:lnTo>
                  <a:lnTo>
                    <a:pt x="1142" y="650"/>
                  </a:lnTo>
                  <a:lnTo>
                    <a:pt x="1142" y="667"/>
                  </a:lnTo>
                  <a:lnTo>
                    <a:pt x="1177" y="685"/>
                  </a:lnTo>
                  <a:lnTo>
                    <a:pt x="1212" y="720"/>
                  </a:lnTo>
                  <a:lnTo>
                    <a:pt x="1212" y="755"/>
                  </a:lnTo>
                  <a:lnTo>
                    <a:pt x="1229" y="790"/>
                  </a:lnTo>
                  <a:lnTo>
                    <a:pt x="1247" y="825"/>
                  </a:lnTo>
                  <a:lnTo>
                    <a:pt x="1247" y="878"/>
                  </a:lnTo>
                  <a:lnTo>
                    <a:pt x="1229" y="913"/>
                  </a:lnTo>
                  <a:lnTo>
                    <a:pt x="1194" y="931"/>
                  </a:lnTo>
                  <a:lnTo>
                    <a:pt x="1177" y="931"/>
                  </a:lnTo>
                  <a:lnTo>
                    <a:pt x="1142" y="913"/>
                  </a:lnTo>
                  <a:lnTo>
                    <a:pt x="1107" y="843"/>
                  </a:lnTo>
                  <a:lnTo>
                    <a:pt x="1001" y="650"/>
                  </a:lnTo>
                  <a:lnTo>
                    <a:pt x="966" y="702"/>
                  </a:lnTo>
                  <a:lnTo>
                    <a:pt x="966" y="720"/>
                  </a:lnTo>
                  <a:lnTo>
                    <a:pt x="948" y="737"/>
                  </a:lnTo>
                  <a:lnTo>
                    <a:pt x="966" y="790"/>
                  </a:lnTo>
                  <a:lnTo>
                    <a:pt x="984" y="808"/>
                  </a:lnTo>
                  <a:lnTo>
                    <a:pt x="984" y="843"/>
                  </a:lnTo>
                  <a:lnTo>
                    <a:pt x="984" y="878"/>
                  </a:lnTo>
                  <a:lnTo>
                    <a:pt x="966" y="896"/>
                  </a:lnTo>
                  <a:lnTo>
                    <a:pt x="948" y="913"/>
                  </a:lnTo>
                  <a:lnTo>
                    <a:pt x="931" y="948"/>
                  </a:lnTo>
                  <a:lnTo>
                    <a:pt x="948" y="983"/>
                  </a:lnTo>
                  <a:lnTo>
                    <a:pt x="966" y="1019"/>
                  </a:lnTo>
                  <a:lnTo>
                    <a:pt x="966" y="1054"/>
                  </a:lnTo>
                  <a:lnTo>
                    <a:pt x="948" y="1071"/>
                  </a:lnTo>
                  <a:lnTo>
                    <a:pt x="896" y="1124"/>
                  </a:lnTo>
                  <a:lnTo>
                    <a:pt x="755" y="1177"/>
                  </a:lnTo>
                  <a:lnTo>
                    <a:pt x="685" y="1212"/>
                  </a:lnTo>
                  <a:lnTo>
                    <a:pt x="632" y="1247"/>
                  </a:lnTo>
                  <a:lnTo>
                    <a:pt x="509" y="1300"/>
                  </a:lnTo>
                  <a:lnTo>
                    <a:pt x="474" y="1335"/>
                  </a:lnTo>
                  <a:lnTo>
                    <a:pt x="421" y="1352"/>
                  </a:lnTo>
                  <a:lnTo>
                    <a:pt x="386" y="1387"/>
                  </a:lnTo>
                  <a:lnTo>
                    <a:pt x="334" y="1405"/>
                  </a:lnTo>
                  <a:lnTo>
                    <a:pt x="334" y="1370"/>
                  </a:lnTo>
                  <a:lnTo>
                    <a:pt x="298" y="1370"/>
                  </a:lnTo>
                  <a:lnTo>
                    <a:pt x="263" y="1387"/>
                  </a:lnTo>
                  <a:lnTo>
                    <a:pt x="228" y="1422"/>
                  </a:lnTo>
                  <a:lnTo>
                    <a:pt x="193" y="1528"/>
                  </a:lnTo>
                  <a:lnTo>
                    <a:pt x="158" y="1581"/>
                  </a:lnTo>
                  <a:lnTo>
                    <a:pt x="123" y="1633"/>
                  </a:lnTo>
                  <a:lnTo>
                    <a:pt x="88" y="1668"/>
                  </a:lnTo>
                  <a:lnTo>
                    <a:pt x="70" y="1721"/>
                  </a:lnTo>
                  <a:lnTo>
                    <a:pt x="35" y="1844"/>
                  </a:lnTo>
                  <a:lnTo>
                    <a:pt x="17" y="1879"/>
                  </a:lnTo>
                  <a:lnTo>
                    <a:pt x="0" y="1914"/>
                  </a:lnTo>
                  <a:lnTo>
                    <a:pt x="17" y="1949"/>
                  </a:lnTo>
                  <a:lnTo>
                    <a:pt x="52" y="2002"/>
                  </a:lnTo>
                  <a:lnTo>
                    <a:pt x="88" y="2055"/>
                  </a:lnTo>
                  <a:lnTo>
                    <a:pt x="123" y="2090"/>
                  </a:lnTo>
                  <a:lnTo>
                    <a:pt x="158" y="2143"/>
                  </a:lnTo>
                  <a:lnTo>
                    <a:pt x="193" y="2178"/>
                  </a:lnTo>
                  <a:lnTo>
                    <a:pt x="211" y="2230"/>
                  </a:lnTo>
                  <a:lnTo>
                    <a:pt x="193" y="2301"/>
                  </a:lnTo>
                  <a:lnTo>
                    <a:pt x="211" y="2459"/>
                  </a:lnTo>
                  <a:lnTo>
                    <a:pt x="211" y="2564"/>
                  </a:lnTo>
                  <a:lnTo>
                    <a:pt x="193" y="2582"/>
                  </a:lnTo>
                  <a:lnTo>
                    <a:pt x="193" y="2599"/>
                  </a:lnTo>
                  <a:lnTo>
                    <a:pt x="211" y="2634"/>
                  </a:lnTo>
                  <a:lnTo>
                    <a:pt x="246" y="2652"/>
                  </a:lnTo>
                  <a:lnTo>
                    <a:pt x="281" y="2670"/>
                  </a:lnTo>
                  <a:lnTo>
                    <a:pt x="298" y="2687"/>
                  </a:lnTo>
                  <a:lnTo>
                    <a:pt x="334" y="2845"/>
                  </a:lnTo>
                  <a:lnTo>
                    <a:pt x="334" y="2915"/>
                  </a:lnTo>
                  <a:lnTo>
                    <a:pt x="298" y="2986"/>
                  </a:lnTo>
                  <a:lnTo>
                    <a:pt x="193" y="2986"/>
                  </a:lnTo>
                  <a:lnTo>
                    <a:pt x="158" y="3021"/>
                  </a:lnTo>
                  <a:lnTo>
                    <a:pt x="123" y="3074"/>
                  </a:lnTo>
                  <a:lnTo>
                    <a:pt x="140" y="3109"/>
                  </a:lnTo>
                  <a:lnTo>
                    <a:pt x="140" y="3144"/>
                  </a:lnTo>
                  <a:lnTo>
                    <a:pt x="123" y="3161"/>
                  </a:lnTo>
                  <a:lnTo>
                    <a:pt x="105" y="3161"/>
                  </a:lnTo>
                  <a:lnTo>
                    <a:pt x="105" y="3232"/>
                  </a:lnTo>
                  <a:lnTo>
                    <a:pt x="123" y="3267"/>
                  </a:lnTo>
                  <a:lnTo>
                    <a:pt x="158" y="3302"/>
                  </a:lnTo>
                  <a:lnTo>
                    <a:pt x="158" y="3337"/>
                  </a:lnTo>
                  <a:lnTo>
                    <a:pt x="158" y="3355"/>
                  </a:lnTo>
                  <a:lnTo>
                    <a:pt x="193" y="3372"/>
                  </a:lnTo>
                  <a:lnTo>
                    <a:pt x="211" y="3372"/>
                  </a:lnTo>
                  <a:lnTo>
                    <a:pt x="263" y="3372"/>
                  </a:lnTo>
                  <a:lnTo>
                    <a:pt x="281" y="3390"/>
                  </a:lnTo>
                  <a:lnTo>
                    <a:pt x="298" y="3425"/>
                  </a:lnTo>
                  <a:lnTo>
                    <a:pt x="334" y="3460"/>
                  </a:lnTo>
                  <a:lnTo>
                    <a:pt x="351" y="3495"/>
                  </a:lnTo>
                  <a:lnTo>
                    <a:pt x="386" y="3495"/>
                  </a:lnTo>
                  <a:lnTo>
                    <a:pt x="386" y="3565"/>
                  </a:lnTo>
                  <a:lnTo>
                    <a:pt x="404" y="3583"/>
                  </a:lnTo>
                  <a:lnTo>
                    <a:pt x="421" y="3600"/>
                  </a:lnTo>
                  <a:lnTo>
                    <a:pt x="474" y="3600"/>
                  </a:lnTo>
                  <a:lnTo>
                    <a:pt x="509" y="3618"/>
                  </a:lnTo>
                  <a:lnTo>
                    <a:pt x="544" y="3653"/>
                  </a:lnTo>
                  <a:lnTo>
                    <a:pt x="579" y="3671"/>
                  </a:lnTo>
                  <a:lnTo>
                    <a:pt x="597" y="3688"/>
                  </a:lnTo>
                  <a:lnTo>
                    <a:pt x="632" y="3671"/>
                  </a:lnTo>
                  <a:lnTo>
                    <a:pt x="632" y="3636"/>
                  </a:lnTo>
                  <a:lnTo>
                    <a:pt x="650" y="3565"/>
                  </a:lnTo>
                  <a:lnTo>
                    <a:pt x="650" y="3530"/>
                  </a:lnTo>
                  <a:lnTo>
                    <a:pt x="667" y="3530"/>
                  </a:lnTo>
                  <a:lnTo>
                    <a:pt x="685" y="3530"/>
                  </a:lnTo>
                  <a:lnTo>
                    <a:pt x="702" y="3477"/>
                  </a:lnTo>
                  <a:lnTo>
                    <a:pt x="702" y="3442"/>
                  </a:lnTo>
                  <a:lnTo>
                    <a:pt x="738" y="3425"/>
                  </a:lnTo>
                  <a:lnTo>
                    <a:pt x="790" y="3407"/>
                  </a:lnTo>
                  <a:lnTo>
                    <a:pt x="825" y="3390"/>
                  </a:lnTo>
                  <a:lnTo>
                    <a:pt x="825" y="3372"/>
                  </a:lnTo>
                  <a:lnTo>
                    <a:pt x="825" y="3355"/>
                  </a:lnTo>
                  <a:lnTo>
                    <a:pt x="808" y="3302"/>
                  </a:lnTo>
                  <a:lnTo>
                    <a:pt x="790" y="3267"/>
                  </a:lnTo>
                  <a:lnTo>
                    <a:pt x="773" y="3267"/>
                  </a:lnTo>
                  <a:lnTo>
                    <a:pt x="755" y="3267"/>
                  </a:lnTo>
                  <a:lnTo>
                    <a:pt x="738" y="3284"/>
                  </a:lnTo>
                  <a:lnTo>
                    <a:pt x="720" y="3267"/>
                  </a:lnTo>
                  <a:lnTo>
                    <a:pt x="720" y="3249"/>
                  </a:lnTo>
                  <a:lnTo>
                    <a:pt x="720" y="3232"/>
                  </a:lnTo>
                  <a:lnTo>
                    <a:pt x="738" y="3214"/>
                  </a:lnTo>
                  <a:lnTo>
                    <a:pt x="755" y="3179"/>
                  </a:lnTo>
                  <a:lnTo>
                    <a:pt x="738" y="3144"/>
                  </a:lnTo>
                  <a:lnTo>
                    <a:pt x="790" y="3074"/>
                  </a:lnTo>
                  <a:lnTo>
                    <a:pt x="808" y="3038"/>
                  </a:lnTo>
                  <a:lnTo>
                    <a:pt x="843" y="3038"/>
                  </a:lnTo>
                  <a:lnTo>
                    <a:pt x="861" y="3038"/>
                  </a:lnTo>
                  <a:lnTo>
                    <a:pt x="861" y="3074"/>
                  </a:lnTo>
                  <a:lnTo>
                    <a:pt x="861" y="3091"/>
                  </a:lnTo>
                  <a:lnTo>
                    <a:pt x="843" y="3109"/>
                  </a:lnTo>
                  <a:lnTo>
                    <a:pt x="861" y="3126"/>
                  </a:lnTo>
                  <a:lnTo>
                    <a:pt x="913" y="3144"/>
                  </a:lnTo>
                  <a:lnTo>
                    <a:pt x="1019" y="3179"/>
                  </a:lnTo>
                  <a:lnTo>
                    <a:pt x="1071" y="3161"/>
                  </a:lnTo>
                  <a:lnTo>
                    <a:pt x="1124" y="3179"/>
                  </a:lnTo>
                  <a:lnTo>
                    <a:pt x="1159" y="3196"/>
                  </a:lnTo>
                  <a:lnTo>
                    <a:pt x="1177" y="3196"/>
                  </a:lnTo>
                  <a:lnTo>
                    <a:pt x="1247" y="3161"/>
                  </a:lnTo>
                  <a:lnTo>
                    <a:pt x="1282" y="3109"/>
                  </a:lnTo>
                  <a:lnTo>
                    <a:pt x="1317" y="3109"/>
                  </a:lnTo>
                  <a:lnTo>
                    <a:pt x="1335" y="3038"/>
                  </a:lnTo>
                  <a:lnTo>
                    <a:pt x="1352" y="3003"/>
                  </a:lnTo>
                  <a:lnTo>
                    <a:pt x="1388" y="2968"/>
                  </a:lnTo>
                  <a:lnTo>
                    <a:pt x="1405" y="2951"/>
                  </a:lnTo>
                  <a:lnTo>
                    <a:pt x="1440" y="2951"/>
                  </a:lnTo>
                  <a:lnTo>
                    <a:pt x="1458" y="2915"/>
                  </a:lnTo>
                  <a:lnTo>
                    <a:pt x="1493" y="2863"/>
                  </a:lnTo>
                  <a:lnTo>
                    <a:pt x="1511" y="2792"/>
                  </a:lnTo>
                  <a:lnTo>
                    <a:pt x="1546" y="2740"/>
                  </a:lnTo>
                  <a:lnTo>
                    <a:pt x="1563" y="2722"/>
                  </a:lnTo>
                  <a:lnTo>
                    <a:pt x="1598" y="2722"/>
                  </a:lnTo>
                  <a:lnTo>
                    <a:pt x="1651" y="2722"/>
                  </a:lnTo>
                  <a:lnTo>
                    <a:pt x="1686" y="2740"/>
                  </a:lnTo>
                  <a:lnTo>
                    <a:pt x="1774" y="2740"/>
                  </a:lnTo>
                  <a:lnTo>
                    <a:pt x="1827" y="2775"/>
                  </a:lnTo>
                  <a:lnTo>
                    <a:pt x="1897" y="2775"/>
                  </a:lnTo>
                  <a:lnTo>
                    <a:pt x="1950" y="2792"/>
                  </a:lnTo>
                  <a:lnTo>
                    <a:pt x="1985" y="2810"/>
                  </a:lnTo>
                  <a:lnTo>
                    <a:pt x="2002" y="2828"/>
                  </a:lnTo>
                  <a:lnTo>
                    <a:pt x="2055" y="2828"/>
                  </a:lnTo>
                  <a:lnTo>
                    <a:pt x="2090" y="2828"/>
                  </a:lnTo>
                  <a:lnTo>
                    <a:pt x="2108" y="2792"/>
                  </a:lnTo>
                  <a:lnTo>
                    <a:pt x="2143" y="2775"/>
                  </a:lnTo>
                  <a:lnTo>
                    <a:pt x="2178" y="2757"/>
                  </a:lnTo>
                  <a:lnTo>
                    <a:pt x="2213" y="2775"/>
                  </a:lnTo>
                  <a:lnTo>
                    <a:pt x="2231" y="2775"/>
                  </a:lnTo>
                  <a:lnTo>
                    <a:pt x="2248" y="2792"/>
                  </a:lnTo>
                  <a:lnTo>
                    <a:pt x="2266" y="2810"/>
                  </a:lnTo>
                  <a:lnTo>
                    <a:pt x="2284" y="2775"/>
                  </a:lnTo>
                  <a:lnTo>
                    <a:pt x="2301" y="2757"/>
                  </a:lnTo>
                  <a:lnTo>
                    <a:pt x="2354" y="2740"/>
                  </a:lnTo>
                  <a:lnTo>
                    <a:pt x="2407" y="2705"/>
                  </a:lnTo>
                  <a:lnTo>
                    <a:pt x="2424" y="2687"/>
                  </a:lnTo>
                  <a:lnTo>
                    <a:pt x="2442" y="2652"/>
                  </a:lnTo>
                  <a:lnTo>
                    <a:pt x="2371" y="2634"/>
                  </a:lnTo>
                  <a:lnTo>
                    <a:pt x="2336" y="2599"/>
                  </a:lnTo>
                  <a:lnTo>
                    <a:pt x="2319" y="2547"/>
                  </a:lnTo>
                  <a:lnTo>
                    <a:pt x="2301" y="2494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64"/>
            <p:cNvSpPr>
              <a:spLocks/>
            </p:cNvSpPr>
            <p:nvPr/>
          </p:nvSpPr>
          <p:spPr bwMode="auto">
            <a:xfrm>
              <a:off x="2786632" y="4052496"/>
              <a:ext cx="586216" cy="681475"/>
            </a:xfrm>
            <a:custGeom>
              <a:avLst/>
              <a:gdLst>
                <a:gd name="T0" fmla="*/ 457 w 967"/>
                <a:gd name="T1" fmla="*/ 123 h 1124"/>
                <a:gd name="T2" fmla="*/ 404 w 967"/>
                <a:gd name="T3" fmla="*/ 71 h 1124"/>
                <a:gd name="T4" fmla="*/ 387 w 967"/>
                <a:gd name="T5" fmla="*/ 71 h 1124"/>
                <a:gd name="T6" fmla="*/ 369 w 967"/>
                <a:gd name="T7" fmla="*/ 35 h 1124"/>
                <a:gd name="T8" fmla="*/ 281 w 967"/>
                <a:gd name="T9" fmla="*/ 0 h 1124"/>
                <a:gd name="T10" fmla="*/ 246 w 967"/>
                <a:gd name="T11" fmla="*/ 0 h 1124"/>
                <a:gd name="T12" fmla="*/ 211 w 967"/>
                <a:gd name="T13" fmla="*/ 0 h 1124"/>
                <a:gd name="T14" fmla="*/ 211 w 967"/>
                <a:gd name="T15" fmla="*/ 106 h 1124"/>
                <a:gd name="T16" fmla="*/ 211 w 967"/>
                <a:gd name="T17" fmla="*/ 106 h 1124"/>
                <a:gd name="T18" fmla="*/ 229 w 967"/>
                <a:gd name="T19" fmla="*/ 141 h 1124"/>
                <a:gd name="T20" fmla="*/ 299 w 967"/>
                <a:gd name="T21" fmla="*/ 229 h 1124"/>
                <a:gd name="T22" fmla="*/ 246 w 967"/>
                <a:gd name="T23" fmla="*/ 299 h 1124"/>
                <a:gd name="T24" fmla="*/ 194 w 967"/>
                <a:gd name="T25" fmla="*/ 369 h 1124"/>
                <a:gd name="T26" fmla="*/ 176 w 967"/>
                <a:gd name="T27" fmla="*/ 475 h 1124"/>
                <a:gd name="T28" fmla="*/ 158 w 967"/>
                <a:gd name="T29" fmla="*/ 492 h 1124"/>
                <a:gd name="T30" fmla="*/ 88 w 967"/>
                <a:gd name="T31" fmla="*/ 720 h 1124"/>
                <a:gd name="T32" fmla="*/ 71 w 967"/>
                <a:gd name="T33" fmla="*/ 808 h 1124"/>
                <a:gd name="T34" fmla="*/ 0 w 967"/>
                <a:gd name="T35" fmla="*/ 879 h 1124"/>
                <a:gd name="T36" fmla="*/ 18 w 967"/>
                <a:gd name="T37" fmla="*/ 914 h 1124"/>
                <a:gd name="T38" fmla="*/ 71 w 967"/>
                <a:gd name="T39" fmla="*/ 966 h 1124"/>
                <a:gd name="T40" fmla="*/ 106 w 967"/>
                <a:gd name="T41" fmla="*/ 1001 h 1124"/>
                <a:gd name="T42" fmla="*/ 158 w 967"/>
                <a:gd name="T43" fmla="*/ 1019 h 1124"/>
                <a:gd name="T44" fmla="*/ 211 w 967"/>
                <a:gd name="T45" fmla="*/ 1054 h 1124"/>
                <a:gd name="T46" fmla="*/ 229 w 967"/>
                <a:gd name="T47" fmla="*/ 1107 h 1124"/>
                <a:gd name="T48" fmla="*/ 281 w 967"/>
                <a:gd name="T49" fmla="*/ 1124 h 1124"/>
                <a:gd name="T50" fmla="*/ 317 w 967"/>
                <a:gd name="T51" fmla="*/ 1054 h 1124"/>
                <a:gd name="T52" fmla="*/ 369 w 967"/>
                <a:gd name="T53" fmla="*/ 1001 h 1124"/>
                <a:gd name="T54" fmla="*/ 422 w 967"/>
                <a:gd name="T55" fmla="*/ 1001 h 1124"/>
                <a:gd name="T56" fmla="*/ 492 w 967"/>
                <a:gd name="T57" fmla="*/ 914 h 1124"/>
                <a:gd name="T58" fmla="*/ 545 w 967"/>
                <a:gd name="T59" fmla="*/ 931 h 1124"/>
                <a:gd name="T60" fmla="*/ 580 w 967"/>
                <a:gd name="T61" fmla="*/ 861 h 1124"/>
                <a:gd name="T62" fmla="*/ 668 w 967"/>
                <a:gd name="T63" fmla="*/ 826 h 1124"/>
                <a:gd name="T64" fmla="*/ 703 w 967"/>
                <a:gd name="T65" fmla="*/ 773 h 1124"/>
                <a:gd name="T66" fmla="*/ 686 w 967"/>
                <a:gd name="T67" fmla="*/ 720 h 1124"/>
                <a:gd name="T68" fmla="*/ 721 w 967"/>
                <a:gd name="T69" fmla="*/ 668 h 1124"/>
                <a:gd name="T70" fmla="*/ 686 w 967"/>
                <a:gd name="T71" fmla="*/ 580 h 1124"/>
                <a:gd name="T72" fmla="*/ 721 w 967"/>
                <a:gd name="T73" fmla="*/ 527 h 1124"/>
                <a:gd name="T74" fmla="*/ 844 w 967"/>
                <a:gd name="T75" fmla="*/ 457 h 1124"/>
                <a:gd name="T76" fmla="*/ 967 w 967"/>
                <a:gd name="T77" fmla="*/ 194 h 1124"/>
                <a:gd name="T78" fmla="*/ 967 w 967"/>
                <a:gd name="T79" fmla="*/ 194 h 1124"/>
                <a:gd name="T80" fmla="*/ 879 w 967"/>
                <a:gd name="T81" fmla="*/ 194 h 1124"/>
                <a:gd name="T82" fmla="*/ 686 w 967"/>
                <a:gd name="T83" fmla="*/ 106 h 1124"/>
                <a:gd name="T84" fmla="*/ 633 w 967"/>
                <a:gd name="T85" fmla="*/ 141 h 1124"/>
                <a:gd name="T86" fmla="*/ 492 w 967"/>
                <a:gd name="T87" fmla="*/ 123 h 112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967"/>
                <a:gd name="T133" fmla="*/ 0 h 1124"/>
                <a:gd name="T134" fmla="*/ 967 w 967"/>
                <a:gd name="T135" fmla="*/ 1124 h 112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967" h="1124">
                  <a:moveTo>
                    <a:pt x="492" y="141"/>
                  </a:moveTo>
                  <a:lnTo>
                    <a:pt x="492" y="141"/>
                  </a:lnTo>
                  <a:lnTo>
                    <a:pt x="457" y="123"/>
                  </a:lnTo>
                  <a:lnTo>
                    <a:pt x="440" y="106"/>
                  </a:lnTo>
                  <a:lnTo>
                    <a:pt x="422" y="88"/>
                  </a:lnTo>
                  <a:lnTo>
                    <a:pt x="404" y="71"/>
                  </a:lnTo>
                  <a:lnTo>
                    <a:pt x="387" y="71"/>
                  </a:lnTo>
                  <a:lnTo>
                    <a:pt x="369" y="71"/>
                  </a:lnTo>
                  <a:lnTo>
                    <a:pt x="369" y="35"/>
                  </a:lnTo>
                  <a:lnTo>
                    <a:pt x="369" y="18"/>
                  </a:lnTo>
                  <a:lnTo>
                    <a:pt x="334" y="0"/>
                  </a:lnTo>
                  <a:lnTo>
                    <a:pt x="281" y="0"/>
                  </a:lnTo>
                  <a:lnTo>
                    <a:pt x="246" y="0"/>
                  </a:lnTo>
                  <a:lnTo>
                    <a:pt x="229" y="0"/>
                  </a:lnTo>
                  <a:lnTo>
                    <a:pt x="211" y="0"/>
                  </a:lnTo>
                  <a:lnTo>
                    <a:pt x="229" y="71"/>
                  </a:lnTo>
                  <a:lnTo>
                    <a:pt x="211" y="106"/>
                  </a:lnTo>
                  <a:lnTo>
                    <a:pt x="194" y="106"/>
                  </a:lnTo>
                  <a:lnTo>
                    <a:pt x="211" y="106"/>
                  </a:lnTo>
                  <a:lnTo>
                    <a:pt x="229" y="141"/>
                  </a:lnTo>
                  <a:lnTo>
                    <a:pt x="246" y="158"/>
                  </a:lnTo>
                  <a:lnTo>
                    <a:pt x="281" y="194"/>
                  </a:lnTo>
                  <a:lnTo>
                    <a:pt x="299" y="229"/>
                  </a:lnTo>
                  <a:lnTo>
                    <a:pt x="281" y="264"/>
                  </a:lnTo>
                  <a:lnTo>
                    <a:pt x="246" y="299"/>
                  </a:lnTo>
                  <a:lnTo>
                    <a:pt x="211" y="316"/>
                  </a:lnTo>
                  <a:lnTo>
                    <a:pt x="194" y="369"/>
                  </a:lnTo>
                  <a:lnTo>
                    <a:pt x="194" y="457"/>
                  </a:lnTo>
                  <a:lnTo>
                    <a:pt x="176" y="475"/>
                  </a:lnTo>
                  <a:lnTo>
                    <a:pt x="158" y="492"/>
                  </a:lnTo>
                  <a:lnTo>
                    <a:pt x="141" y="510"/>
                  </a:lnTo>
                  <a:lnTo>
                    <a:pt x="123" y="580"/>
                  </a:lnTo>
                  <a:lnTo>
                    <a:pt x="88" y="720"/>
                  </a:lnTo>
                  <a:lnTo>
                    <a:pt x="71" y="808"/>
                  </a:lnTo>
                  <a:lnTo>
                    <a:pt x="18" y="843"/>
                  </a:lnTo>
                  <a:lnTo>
                    <a:pt x="0" y="843"/>
                  </a:lnTo>
                  <a:lnTo>
                    <a:pt x="0" y="879"/>
                  </a:lnTo>
                  <a:lnTo>
                    <a:pt x="0" y="896"/>
                  </a:lnTo>
                  <a:lnTo>
                    <a:pt x="18" y="914"/>
                  </a:lnTo>
                  <a:lnTo>
                    <a:pt x="53" y="914"/>
                  </a:lnTo>
                  <a:lnTo>
                    <a:pt x="71" y="966"/>
                  </a:lnTo>
                  <a:lnTo>
                    <a:pt x="88" y="984"/>
                  </a:lnTo>
                  <a:lnTo>
                    <a:pt x="106" y="1001"/>
                  </a:lnTo>
                  <a:lnTo>
                    <a:pt x="141" y="1001"/>
                  </a:lnTo>
                  <a:lnTo>
                    <a:pt x="158" y="1019"/>
                  </a:lnTo>
                  <a:lnTo>
                    <a:pt x="176" y="1037"/>
                  </a:lnTo>
                  <a:lnTo>
                    <a:pt x="211" y="1054"/>
                  </a:lnTo>
                  <a:lnTo>
                    <a:pt x="229" y="1072"/>
                  </a:lnTo>
                  <a:lnTo>
                    <a:pt x="229" y="1089"/>
                  </a:lnTo>
                  <a:lnTo>
                    <a:pt x="229" y="1107"/>
                  </a:lnTo>
                  <a:lnTo>
                    <a:pt x="246" y="1107"/>
                  </a:lnTo>
                  <a:lnTo>
                    <a:pt x="281" y="1124"/>
                  </a:lnTo>
                  <a:lnTo>
                    <a:pt x="299" y="1107"/>
                  </a:lnTo>
                  <a:lnTo>
                    <a:pt x="317" y="1054"/>
                  </a:lnTo>
                  <a:lnTo>
                    <a:pt x="334" y="1019"/>
                  </a:lnTo>
                  <a:lnTo>
                    <a:pt x="369" y="1001"/>
                  </a:lnTo>
                  <a:lnTo>
                    <a:pt x="387" y="1001"/>
                  </a:lnTo>
                  <a:lnTo>
                    <a:pt x="422" y="1001"/>
                  </a:lnTo>
                  <a:lnTo>
                    <a:pt x="457" y="949"/>
                  </a:lnTo>
                  <a:lnTo>
                    <a:pt x="475" y="914"/>
                  </a:lnTo>
                  <a:lnTo>
                    <a:pt x="492" y="914"/>
                  </a:lnTo>
                  <a:lnTo>
                    <a:pt x="545" y="931"/>
                  </a:lnTo>
                  <a:lnTo>
                    <a:pt x="563" y="914"/>
                  </a:lnTo>
                  <a:lnTo>
                    <a:pt x="563" y="879"/>
                  </a:lnTo>
                  <a:lnTo>
                    <a:pt x="580" y="861"/>
                  </a:lnTo>
                  <a:lnTo>
                    <a:pt x="615" y="843"/>
                  </a:lnTo>
                  <a:lnTo>
                    <a:pt x="668" y="826"/>
                  </a:lnTo>
                  <a:lnTo>
                    <a:pt x="686" y="808"/>
                  </a:lnTo>
                  <a:lnTo>
                    <a:pt x="703" y="773"/>
                  </a:lnTo>
                  <a:lnTo>
                    <a:pt x="686" y="738"/>
                  </a:lnTo>
                  <a:lnTo>
                    <a:pt x="686" y="720"/>
                  </a:lnTo>
                  <a:lnTo>
                    <a:pt x="703" y="703"/>
                  </a:lnTo>
                  <a:lnTo>
                    <a:pt x="721" y="668"/>
                  </a:lnTo>
                  <a:lnTo>
                    <a:pt x="703" y="633"/>
                  </a:lnTo>
                  <a:lnTo>
                    <a:pt x="686" y="598"/>
                  </a:lnTo>
                  <a:lnTo>
                    <a:pt x="686" y="580"/>
                  </a:lnTo>
                  <a:lnTo>
                    <a:pt x="703" y="545"/>
                  </a:lnTo>
                  <a:lnTo>
                    <a:pt x="721" y="527"/>
                  </a:lnTo>
                  <a:lnTo>
                    <a:pt x="791" y="510"/>
                  </a:lnTo>
                  <a:lnTo>
                    <a:pt x="844" y="457"/>
                  </a:lnTo>
                  <a:lnTo>
                    <a:pt x="879" y="387"/>
                  </a:lnTo>
                  <a:lnTo>
                    <a:pt x="967" y="194"/>
                  </a:lnTo>
                  <a:lnTo>
                    <a:pt x="931" y="194"/>
                  </a:lnTo>
                  <a:lnTo>
                    <a:pt x="879" y="194"/>
                  </a:lnTo>
                  <a:lnTo>
                    <a:pt x="808" y="158"/>
                  </a:lnTo>
                  <a:lnTo>
                    <a:pt x="756" y="123"/>
                  </a:lnTo>
                  <a:lnTo>
                    <a:pt x="686" y="106"/>
                  </a:lnTo>
                  <a:lnTo>
                    <a:pt x="668" y="123"/>
                  </a:lnTo>
                  <a:lnTo>
                    <a:pt x="633" y="141"/>
                  </a:lnTo>
                  <a:lnTo>
                    <a:pt x="492" y="123"/>
                  </a:lnTo>
                  <a:lnTo>
                    <a:pt x="492" y="141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65"/>
            <p:cNvSpPr>
              <a:spLocks/>
            </p:cNvSpPr>
            <p:nvPr/>
          </p:nvSpPr>
          <p:spPr bwMode="auto">
            <a:xfrm>
              <a:off x="2275588" y="2945403"/>
              <a:ext cx="1725304" cy="990078"/>
            </a:xfrm>
            <a:custGeom>
              <a:avLst/>
              <a:gdLst>
                <a:gd name="T0" fmla="*/ 1739 w 2846"/>
                <a:gd name="T1" fmla="*/ 702 h 1633"/>
                <a:gd name="T2" fmla="*/ 1915 w 2846"/>
                <a:gd name="T3" fmla="*/ 825 h 1633"/>
                <a:gd name="T4" fmla="*/ 2547 w 2846"/>
                <a:gd name="T5" fmla="*/ 1054 h 1633"/>
                <a:gd name="T6" fmla="*/ 2829 w 2846"/>
                <a:gd name="T7" fmla="*/ 913 h 1633"/>
                <a:gd name="T8" fmla="*/ 2811 w 2846"/>
                <a:gd name="T9" fmla="*/ 825 h 1633"/>
                <a:gd name="T10" fmla="*/ 2846 w 2846"/>
                <a:gd name="T11" fmla="*/ 685 h 1633"/>
                <a:gd name="T12" fmla="*/ 2600 w 2846"/>
                <a:gd name="T13" fmla="*/ 474 h 1633"/>
                <a:gd name="T14" fmla="*/ 2530 w 2846"/>
                <a:gd name="T15" fmla="*/ 527 h 1633"/>
                <a:gd name="T16" fmla="*/ 2512 w 2846"/>
                <a:gd name="T17" fmla="*/ 667 h 1633"/>
                <a:gd name="T18" fmla="*/ 2424 w 2846"/>
                <a:gd name="T19" fmla="*/ 720 h 1633"/>
                <a:gd name="T20" fmla="*/ 2372 w 2846"/>
                <a:gd name="T21" fmla="*/ 702 h 1633"/>
                <a:gd name="T22" fmla="*/ 2319 w 2846"/>
                <a:gd name="T23" fmla="*/ 597 h 1633"/>
                <a:gd name="T24" fmla="*/ 2056 w 2846"/>
                <a:gd name="T25" fmla="*/ 579 h 1633"/>
                <a:gd name="T26" fmla="*/ 2003 w 2846"/>
                <a:gd name="T27" fmla="*/ 491 h 1633"/>
                <a:gd name="T28" fmla="*/ 2038 w 2846"/>
                <a:gd name="T29" fmla="*/ 404 h 1633"/>
                <a:gd name="T30" fmla="*/ 1880 w 2846"/>
                <a:gd name="T31" fmla="*/ 456 h 1633"/>
                <a:gd name="T32" fmla="*/ 1546 w 2846"/>
                <a:gd name="T33" fmla="*/ 404 h 1633"/>
                <a:gd name="T34" fmla="*/ 1353 w 2846"/>
                <a:gd name="T35" fmla="*/ 509 h 1633"/>
                <a:gd name="T36" fmla="*/ 1283 w 2846"/>
                <a:gd name="T37" fmla="*/ 298 h 1633"/>
                <a:gd name="T38" fmla="*/ 1458 w 2846"/>
                <a:gd name="T39" fmla="*/ 298 h 1633"/>
                <a:gd name="T40" fmla="*/ 1423 w 2846"/>
                <a:gd name="T41" fmla="*/ 87 h 1633"/>
                <a:gd name="T42" fmla="*/ 1353 w 2846"/>
                <a:gd name="T43" fmla="*/ 70 h 1633"/>
                <a:gd name="T44" fmla="*/ 1195 w 2846"/>
                <a:gd name="T45" fmla="*/ 263 h 1633"/>
                <a:gd name="T46" fmla="*/ 1177 w 2846"/>
                <a:gd name="T47" fmla="*/ 386 h 1633"/>
                <a:gd name="T48" fmla="*/ 1072 w 2846"/>
                <a:gd name="T49" fmla="*/ 456 h 1633"/>
                <a:gd name="T50" fmla="*/ 1089 w 2846"/>
                <a:gd name="T51" fmla="*/ 404 h 1633"/>
                <a:gd name="T52" fmla="*/ 861 w 2846"/>
                <a:gd name="T53" fmla="*/ 333 h 1633"/>
                <a:gd name="T54" fmla="*/ 668 w 2846"/>
                <a:gd name="T55" fmla="*/ 404 h 1633"/>
                <a:gd name="T56" fmla="*/ 562 w 2846"/>
                <a:gd name="T57" fmla="*/ 404 h 1633"/>
                <a:gd name="T58" fmla="*/ 439 w 2846"/>
                <a:gd name="T59" fmla="*/ 228 h 1633"/>
                <a:gd name="T60" fmla="*/ 439 w 2846"/>
                <a:gd name="T61" fmla="*/ 421 h 1633"/>
                <a:gd name="T62" fmla="*/ 299 w 2846"/>
                <a:gd name="T63" fmla="*/ 404 h 1633"/>
                <a:gd name="T64" fmla="*/ 193 w 2846"/>
                <a:gd name="T65" fmla="*/ 404 h 1633"/>
                <a:gd name="T66" fmla="*/ 141 w 2846"/>
                <a:gd name="T67" fmla="*/ 597 h 1633"/>
                <a:gd name="T68" fmla="*/ 158 w 2846"/>
                <a:gd name="T69" fmla="*/ 650 h 1633"/>
                <a:gd name="T70" fmla="*/ 88 w 2846"/>
                <a:gd name="T71" fmla="*/ 772 h 1633"/>
                <a:gd name="T72" fmla="*/ 35 w 2846"/>
                <a:gd name="T73" fmla="*/ 1071 h 1633"/>
                <a:gd name="T74" fmla="*/ 141 w 2846"/>
                <a:gd name="T75" fmla="*/ 1141 h 1633"/>
                <a:gd name="T76" fmla="*/ 176 w 2846"/>
                <a:gd name="T77" fmla="*/ 1212 h 1633"/>
                <a:gd name="T78" fmla="*/ 334 w 2846"/>
                <a:gd name="T79" fmla="*/ 1264 h 1633"/>
                <a:gd name="T80" fmla="*/ 422 w 2846"/>
                <a:gd name="T81" fmla="*/ 1335 h 1633"/>
                <a:gd name="T82" fmla="*/ 510 w 2846"/>
                <a:gd name="T83" fmla="*/ 1422 h 1633"/>
                <a:gd name="T84" fmla="*/ 597 w 2846"/>
                <a:gd name="T85" fmla="*/ 1405 h 1633"/>
                <a:gd name="T86" fmla="*/ 650 w 2846"/>
                <a:gd name="T87" fmla="*/ 1510 h 1633"/>
                <a:gd name="T88" fmla="*/ 738 w 2846"/>
                <a:gd name="T89" fmla="*/ 1528 h 1633"/>
                <a:gd name="T90" fmla="*/ 756 w 2846"/>
                <a:gd name="T91" fmla="*/ 1616 h 1633"/>
                <a:gd name="T92" fmla="*/ 878 w 2846"/>
                <a:gd name="T93" fmla="*/ 1580 h 1633"/>
                <a:gd name="T94" fmla="*/ 931 w 2846"/>
                <a:gd name="T95" fmla="*/ 1493 h 1633"/>
                <a:gd name="T96" fmla="*/ 1072 w 2846"/>
                <a:gd name="T97" fmla="*/ 1352 h 1633"/>
                <a:gd name="T98" fmla="*/ 966 w 2846"/>
                <a:gd name="T99" fmla="*/ 1335 h 1633"/>
                <a:gd name="T100" fmla="*/ 861 w 2846"/>
                <a:gd name="T101" fmla="*/ 1317 h 1633"/>
                <a:gd name="T102" fmla="*/ 966 w 2846"/>
                <a:gd name="T103" fmla="*/ 1194 h 1633"/>
                <a:gd name="T104" fmla="*/ 966 w 2846"/>
                <a:gd name="T105" fmla="*/ 1089 h 1633"/>
                <a:gd name="T106" fmla="*/ 949 w 2846"/>
                <a:gd name="T107" fmla="*/ 913 h 1633"/>
                <a:gd name="T108" fmla="*/ 1124 w 2846"/>
                <a:gd name="T109" fmla="*/ 966 h 1633"/>
                <a:gd name="T110" fmla="*/ 1247 w 2846"/>
                <a:gd name="T111" fmla="*/ 1018 h 1633"/>
                <a:gd name="T112" fmla="*/ 1318 w 2846"/>
                <a:gd name="T113" fmla="*/ 1054 h 1633"/>
                <a:gd name="T114" fmla="*/ 1370 w 2846"/>
                <a:gd name="T115" fmla="*/ 1036 h 1633"/>
                <a:gd name="T116" fmla="*/ 1335 w 2846"/>
                <a:gd name="T117" fmla="*/ 895 h 1633"/>
                <a:gd name="T118" fmla="*/ 1423 w 2846"/>
                <a:gd name="T119" fmla="*/ 720 h 163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846"/>
                <a:gd name="T181" fmla="*/ 0 h 1633"/>
                <a:gd name="T182" fmla="*/ 2846 w 2846"/>
                <a:gd name="T183" fmla="*/ 1633 h 163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846" h="1633">
                  <a:moveTo>
                    <a:pt x="1423" y="720"/>
                  </a:moveTo>
                  <a:lnTo>
                    <a:pt x="1423" y="720"/>
                  </a:lnTo>
                  <a:lnTo>
                    <a:pt x="1493" y="720"/>
                  </a:lnTo>
                  <a:lnTo>
                    <a:pt x="1616" y="720"/>
                  </a:lnTo>
                  <a:lnTo>
                    <a:pt x="1739" y="702"/>
                  </a:lnTo>
                  <a:lnTo>
                    <a:pt x="1757" y="685"/>
                  </a:lnTo>
                  <a:lnTo>
                    <a:pt x="1792" y="702"/>
                  </a:lnTo>
                  <a:lnTo>
                    <a:pt x="1827" y="737"/>
                  </a:lnTo>
                  <a:lnTo>
                    <a:pt x="1862" y="772"/>
                  </a:lnTo>
                  <a:lnTo>
                    <a:pt x="1915" y="825"/>
                  </a:lnTo>
                  <a:lnTo>
                    <a:pt x="2214" y="966"/>
                  </a:lnTo>
                  <a:lnTo>
                    <a:pt x="2424" y="1071"/>
                  </a:lnTo>
                  <a:lnTo>
                    <a:pt x="2495" y="1071"/>
                  </a:lnTo>
                  <a:lnTo>
                    <a:pt x="2547" y="1054"/>
                  </a:lnTo>
                  <a:lnTo>
                    <a:pt x="2635" y="1001"/>
                  </a:lnTo>
                  <a:lnTo>
                    <a:pt x="2723" y="931"/>
                  </a:lnTo>
                  <a:lnTo>
                    <a:pt x="2776" y="913"/>
                  </a:lnTo>
                  <a:lnTo>
                    <a:pt x="2829" y="895"/>
                  </a:lnTo>
                  <a:lnTo>
                    <a:pt x="2829" y="913"/>
                  </a:lnTo>
                  <a:lnTo>
                    <a:pt x="2829" y="878"/>
                  </a:lnTo>
                  <a:lnTo>
                    <a:pt x="2829" y="843"/>
                  </a:lnTo>
                  <a:lnTo>
                    <a:pt x="2811" y="825"/>
                  </a:lnTo>
                  <a:lnTo>
                    <a:pt x="2793" y="772"/>
                  </a:lnTo>
                  <a:lnTo>
                    <a:pt x="2811" y="755"/>
                  </a:lnTo>
                  <a:lnTo>
                    <a:pt x="2811" y="737"/>
                  </a:lnTo>
                  <a:lnTo>
                    <a:pt x="2846" y="685"/>
                  </a:lnTo>
                  <a:lnTo>
                    <a:pt x="2829" y="650"/>
                  </a:lnTo>
                  <a:lnTo>
                    <a:pt x="2776" y="597"/>
                  </a:lnTo>
                  <a:lnTo>
                    <a:pt x="2723" y="562"/>
                  </a:lnTo>
                  <a:lnTo>
                    <a:pt x="2653" y="527"/>
                  </a:lnTo>
                  <a:lnTo>
                    <a:pt x="2600" y="474"/>
                  </a:lnTo>
                  <a:lnTo>
                    <a:pt x="2583" y="474"/>
                  </a:lnTo>
                  <a:lnTo>
                    <a:pt x="2530" y="491"/>
                  </a:lnTo>
                  <a:lnTo>
                    <a:pt x="2530" y="509"/>
                  </a:lnTo>
                  <a:lnTo>
                    <a:pt x="2530" y="527"/>
                  </a:lnTo>
                  <a:lnTo>
                    <a:pt x="2530" y="562"/>
                  </a:lnTo>
                  <a:lnTo>
                    <a:pt x="2530" y="597"/>
                  </a:lnTo>
                  <a:lnTo>
                    <a:pt x="2530" y="632"/>
                  </a:lnTo>
                  <a:lnTo>
                    <a:pt x="2530" y="667"/>
                  </a:lnTo>
                  <a:lnTo>
                    <a:pt x="2512" y="667"/>
                  </a:lnTo>
                  <a:lnTo>
                    <a:pt x="2495" y="667"/>
                  </a:lnTo>
                  <a:lnTo>
                    <a:pt x="2460" y="667"/>
                  </a:lnTo>
                  <a:lnTo>
                    <a:pt x="2442" y="667"/>
                  </a:lnTo>
                  <a:lnTo>
                    <a:pt x="2424" y="667"/>
                  </a:lnTo>
                  <a:lnTo>
                    <a:pt x="2424" y="720"/>
                  </a:lnTo>
                  <a:lnTo>
                    <a:pt x="2407" y="755"/>
                  </a:lnTo>
                  <a:lnTo>
                    <a:pt x="2389" y="755"/>
                  </a:lnTo>
                  <a:lnTo>
                    <a:pt x="2372" y="737"/>
                  </a:lnTo>
                  <a:lnTo>
                    <a:pt x="2372" y="720"/>
                  </a:lnTo>
                  <a:lnTo>
                    <a:pt x="2372" y="702"/>
                  </a:lnTo>
                  <a:lnTo>
                    <a:pt x="2372" y="667"/>
                  </a:lnTo>
                  <a:lnTo>
                    <a:pt x="2407" y="650"/>
                  </a:lnTo>
                  <a:lnTo>
                    <a:pt x="2424" y="614"/>
                  </a:lnTo>
                  <a:lnTo>
                    <a:pt x="2407" y="579"/>
                  </a:lnTo>
                  <a:lnTo>
                    <a:pt x="2319" y="597"/>
                  </a:lnTo>
                  <a:lnTo>
                    <a:pt x="2249" y="597"/>
                  </a:lnTo>
                  <a:lnTo>
                    <a:pt x="2196" y="579"/>
                  </a:lnTo>
                  <a:lnTo>
                    <a:pt x="2143" y="544"/>
                  </a:lnTo>
                  <a:lnTo>
                    <a:pt x="2073" y="579"/>
                  </a:lnTo>
                  <a:lnTo>
                    <a:pt x="2056" y="579"/>
                  </a:lnTo>
                  <a:lnTo>
                    <a:pt x="2038" y="562"/>
                  </a:lnTo>
                  <a:lnTo>
                    <a:pt x="2020" y="562"/>
                  </a:lnTo>
                  <a:lnTo>
                    <a:pt x="1950" y="509"/>
                  </a:lnTo>
                  <a:lnTo>
                    <a:pt x="2003" y="491"/>
                  </a:lnTo>
                  <a:lnTo>
                    <a:pt x="2003" y="474"/>
                  </a:lnTo>
                  <a:lnTo>
                    <a:pt x="2020" y="456"/>
                  </a:lnTo>
                  <a:lnTo>
                    <a:pt x="2073" y="421"/>
                  </a:lnTo>
                  <a:lnTo>
                    <a:pt x="2091" y="421"/>
                  </a:lnTo>
                  <a:lnTo>
                    <a:pt x="2038" y="404"/>
                  </a:lnTo>
                  <a:lnTo>
                    <a:pt x="1950" y="404"/>
                  </a:lnTo>
                  <a:lnTo>
                    <a:pt x="1933" y="439"/>
                  </a:lnTo>
                  <a:lnTo>
                    <a:pt x="1915" y="456"/>
                  </a:lnTo>
                  <a:lnTo>
                    <a:pt x="1880" y="456"/>
                  </a:lnTo>
                  <a:lnTo>
                    <a:pt x="1862" y="404"/>
                  </a:lnTo>
                  <a:lnTo>
                    <a:pt x="1704" y="404"/>
                  </a:lnTo>
                  <a:lnTo>
                    <a:pt x="1616" y="404"/>
                  </a:lnTo>
                  <a:lnTo>
                    <a:pt x="1546" y="404"/>
                  </a:lnTo>
                  <a:lnTo>
                    <a:pt x="1511" y="404"/>
                  </a:lnTo>
                  <a:lnTo>
                    <a:pt x="1476" y="421"/>
                  </a:lnTo>
                  <a:lnTo>
                    <a:pt x="1406" y="509"/>
                  </a:lnTo>
                  <a:lnTo>
                    <a:pt x="1370" y="527"/>
                  </a:lnTo>
                  <a:lnTo>
                    <a:pt x="1353" y="509"/>
                  </a:lnTo>
                  <a:lnTo>
                    <a:pt x="1300" y="456"/>
                  </a:lnTo>
                  <a:lnTo>
                    <a:pt x="1300" y="404"/>
                  </a:lnTo>
                  <a:lnTo>
                    <a:pt x="1300" y="351"/>
                  </a:lnTo>
                  <a:lnTo>
                    <a:pt x="1283" y="298"/>
                  </a:lnTo>
                  <a:lnTo>
                    <a:pt x="1300" y="298"/>
                  </a:lnTo>
                  <a:lnTo>
                    <a:pt x="1318" y="281"/>
                  </a:lnTo>
                  <a:lnTo>
                    <a:pt x="1370" y="281"/>
                  </a:lnTo>
                  <a:lnTo>
                    <a:pt x="1441" y="298"/>
                  </a:lnTo>
                  <a:lnTo>
                    <a:pt x="1458" y="298"/>
                  </a:lnTo>
                  <a:lnTo>
                    <a:pt x="1476" y="281"/>
                  </a:lnTo>
                  <a:lnTo>
                    <a:pt x="1493" y="246"/>
                  </a:lnTo>
                  <a:lnTo>
                    <a:pt x="1493" y="175"/>
                  </a:lnTo>
                  <a:lnTo>
                    <a:pt x="1476" y="123"/>
                  </a:lnTo>
                  <a:lnTo>
                    <a:pt x="1423" y="87"/>
                  </a:lnTo>
                  <a:lnTo>
                    <a:pt x="1388" y="35"/>
                  </a:lnTo>
                  <a:lnTo>
                    <a:pt x="1370" y="0"/>
                  </a:lnTo>
                  <a:lnTo>
                    <a:pt x="1353" y="0"/>
                  </a:lnTo>
                  <a:lnTo>
                    <a:pt x="1353" y="17"/>
                  </a:lnTo>
                  <a:lnTo>
                    <a:pt x="1353" y="70"/>
                  </a:lnTo>
                  <a:lnTo>
                    <a:pt x="1353" y="105"/>
                  </a:lnTo>
                  <a:lnTo>
                    <a:pt x="1318" y="140"/>
                  </a:lnTo>
                  <a:lnTo>
                    <a:pt x="1247" y="193"/>
                  </a:lnTo>
                  <a:lnTo>
                    <a:pt x="1195" y="228"/>
                  </a:lnTo>
                  <a:lnTo>
                    <a:pt x="1195" y="263"/>
                  </a:lnTo>
                  <a:lnTo>
                    <a:pt x="1195" y="281"/>
                  </a:lnTo>
                  <a:lnTo>
                    <a:pt x="1195" y="298"/>
                  </a:lnTo>
                  <a:lnTo>
                    <a:pt x="1212" y="333"/>
                  </a:lnTo>
                  <a:lnTo>
                    <a:pt x="1212" y="369"/>
                  </a:lnTo>
                  <a:lnTo>
                    <a:pt x="1177" y="386"/>
                  </a:lnTo>
                  <a:lnTo>
                    <a:pt x="1160" y="386"/>
                  </a:lnTo>
                  <a:lnTo>
                    <a:pt x="1124" y="404"/>
                  </a:lnTo>
                  <a:lnTo>
                    <a:pt x="1072" y="491"/>
                  </a:lnTo>
                  <a:lnTo>
                    <a:pt x="1072" y="456"/>
                  </a:lnTo>
                  <a:lnTo>
                    <a:pt x="1054" y="439"/>
                  </a:lnTo>
                  <a:lnTo>
                    <a:pt x="1037" y="439"/>
                  </a:lnTo>
                  <a:lnTo>
                    <a:pt x="1019" y="421"/>
                  </a:lnTo>
                  <a:lnTo>
                    <a:pt x="1089" y="404"/>
                  </a:lnTo>
                  <a:lnTo>
                    <a:pt x="1037" y="333"/>
                  </a:lnTo>
                  <a:lnTo>
                    <a:pt x="1019" y="316"/>
                  </a:lnTo>
                  <a:lnTo>
                    <a:pt x="1001" y="298"/>
                  </a:lnTo>
                  <a:lnTo>
                    <a:pt x="931" y="333"/>
                  </a:lnTo>
                  <a:lnTo>
                    <a:pt x="861" y="333"/>
                  </a:lnTo>
                  <a:lnTo>
                    <a:pt x="756" y="298"/>
                  </a:lnTo>
                  <a:lnTo>
                    <a:pt x="720" y="316"/>
                  </a:lnTo>
                  <a:lnTo>
                    <a:pt x="685" y="333"/>
                  </a:lnTo>
                  <a:lnTo>
                    <a:pt x="668" y="369"/>
                  </a:lnTo>
                  <a:lnTo>
                    <a:pt x="668" y="404"/>
                  </a:lnTo>
                  <a:lnTo>
                    <a:pt x="668" y="474"/>
                  </a:lnTo>
                  <a:lnTo>
                    <a:pt x="650" y="491"/>
                  </a:lnTo>
                  <a:lnTo>
                    <a:pt x="633" y="527"/>
                  </a:lnTo>
                  <a:lnTo>
                    <a:pt x="597" y="474"/>
                  </a:lnTo>
                  <a:lnTo>
                    <a:pt x="562" y="404"/>
                  </a:lnTo>
                  <a:lnTo>
                    <a:pt x="527" y="333"/>
                  </a:lnTo>
                  <a:lnTo>
                    <a:pt x="527" y="263"/>
                  </a:lnTo>
                  <a:lnTo>
                    <a:pt x="510" y="228"/>
                  </a:lnTo>
                  <a:lnTo>
                    <a:pt x="457" y="228"/>
                  </a:lnTo>
                  <a:lnTo>
                    <a:pt x="439" y="228"/>
                  </a:lnTo>
                  <a:lnTo>
                    <a:pt x="404" y="246"/>
                  </a:lnTo>
                  <a:lnTo>
                    <a:pt x="387" y="281"/>
                  </a:lnTo>
                  <a:lnTo>
                    <a:pt x="387" y="333"/>
                  </a:lnTo>
                  <a:lnTo>
                    <a:pt x="439" y="386"/>
                  </a:lnTo>
                  <a:lnTo>
                    <a:pt x="439" y="421"/>
                  </a:lnTo>
                  <a:lnTo>
                    <a:pt x="404" y="456"/>
                  </a:lnTo>
                  <a:lnTo>
                    <a:pt x="369" y="456"/>
                  </a:lnTo>
                  <a:lnTo>
                    <a:pt x="316" y="439"/>
                  </a:lnTo>
                  <a:lnTo>
                    <a:pt x="299" y="404"/>
                  </a:lnTo>
                  <a:lnTo>
                    <a:pt x="264" y="421"/>
                  </a:lnTo>
                  <a:lnTo>
                    <a:pt x="246" y="421"/>
                  </a:lnTo>
                  <a:lnTo>
                    <a:pt x="228" y="404"/>
                  </a:lnTo>
                  <a:lnTo>
                    <a:pt x="193" y="404"/>
                  </a:lnTo>
                  <a:lnTo>
                    <a:pt x="193" y="456"/>
                  </a:lnTo>
                  <a:lnTo>
                    <a:pt x="158" y="491"/>
                  </a:lnTo>
                  <a:lnTo>
                    <a:pt x="141" y="544"/>
                  </a:lnTo>
                  <a:lnTo>
                    <a:pt x="141" y="597"/>
                  </a:lnTo>
                  <a:lnTo>
                    <a:pt x="141" y="614"/>
                  </a:lnTo>
                  <a:lnTo>
                    <a:pt x="158" y="632"/>
                  </a:lnTo>
                  <a:lnTo>
                    <a:pt x="158" y="650"/>
                  </a:lnTo>
                  <a:lnTo>
                    <a:pt x="158" y="667"/>
                  </a:lnTo>
                  <a:lnTo>
                    <a:pt x="141" y="667"/>
                  </a:lnTo>
                  <a:lnTo>
                    <a:pt x="141" y="685"/>
                  </a:lnTo>
                  <a:lnTo>
                    <a:pt x="123" y="702"/>
                  </a:lnTo>
                  <a:lnTo>
                    <a:pt x="88" y="772"/>
                  </a:lnTo>
                  <a:lnTo>
                    <a:pt x="53" y="843"/>
                  </a:lnTo>
                  <a:lnTo>
                    <a:pt x="18" y="913"/>
                  </a:lnTo>
                  <a:lnTo>
                    <a:pt x="0" y="1001"/>
                  </a:lnTo>
                  <a:lnTo>
                    <a:pt x="0" y="1036"/>
                  </a:lnTo>
                  <a:lnTo>
                    <a:pt x="35" y="1071"/>
                  </a:lnTo>
                  <a:lnTo>
                    <a:pt x="70" y="1089"/>
                  </a:lnTo>
                  <a:lnTo>
                    <a:pt x="70" y="1124"/>
                  </a:lnTo>
                  <a:lnTo>
                    <a:pt x="88" y="1141"/>
                  </a:lnTo>
                  <a:lnTo>
                    <a:pt x="106" y="1141"/>
                  </a:lnTo>
                  <a:lnTo>
                    <a:pt x="141" y="1141"/>
                  </a:lnTo>
                  <a:lnTo>
                    <a:pt x="158" y="1159"/>
                  </a:lnTo>
                  <a:lnTo>
                    <a:pt x="158" y="1176"/>
                  </a:lnTo>
                  <a:lnTo>
                    <a:pt x="158" y="1194"/>
                  </a:lnTo>
                  <a:lnTo>
                    <a:pt x="176" y="1212"/>
                  </a:lnTo>
                  <a:lnTo>
                    <a:pt x="228" y="1212"/>
                  </a:lnTo>
                  <a:lnTo>
                    <a:pt x="246" y="1212"/>
                  </a:lnTo>
                  <a:lnTo>
                    <a:pt x="264" y="1247"/>
                  </a:lnTo>
                  <a:lnTo>
                    <a:pt x="299" y="1264"/>
                  </a:lnTo>
                  <a:lnTo>
                    <a:pt x="334" y="1264"/>
                  </a:lnTo>
                  <a:lnTo>
                    <a:pt x="334" y="1299"/>
                  </a:lnTo>
                  <a:lnTo>
                    <a:pt x="334" y="1335"/>
                  </a:lnTo>
                  <a:lnTo>
                    <a:pt x="422" y="1335"/>
                  </a:lnTo>
                  <a:lnTo>
                    <a:pt x="492" y="1387"/>
                  </a:lnTo>
                  <a:lnTo>
                    <a:pt x="492" y="1405"/>
                  </a:lnTo>
                  <a:lnTo>
                    <a:pt x="510" y="1422"/>
                  </a:lnTo>
                  <a:lnTo>
                    <a:pt x="527" y="1422"/>
                  </a:lnTo>
                  <a:lnTo>
                    <a:pt x="545" y="1405"/>
                  </a:lnTo>
                  <a:lnTo>
                    <a:pt x="562" y="1387"/>
                  </a:lnTo>
                  <a:lnTo>
                    <a:pt x="597" y="1405"/>
                  </a:lnTo>
                  <a:lnTo>
                    <a:pt x="597" y="1422"/>
                  </a:lnTo>
                  <a:lnTo>
                    <a:pt x="597" y="1457"/>
                  </a:lnTo>
                  <a:lnTo>
                    <a:pt x="615" y="1475"/>
                  </a:lnTo>
                  <a:lnTo>
                    <a:pt x="633" y="1493"/>
                  </a:lnTo>
                  <a:lnTo>
                    <a:pt x="650" y="1510"/>
                  </a:lnTo>
                  <a:lnTo>
                    <a:pt x="668" y="1528"/>
                  </a:lnTo>
                  <a:lnTo>
                    <a:pt x="685" y="1528"/>
                  </a:lnTo>
                  <a:lnTo>
                    <a:pt x="703" y="1528"/>
                  </a:lnTo>
                  <a:lnTo>
                    <a:pt x="720" y="1528"/>
                  </a:lnTo>
                  <a:lnTo>
                    <a:pt x="738" y="1528"/>
                  </a:lnTo>
                  <a:lnTo>
                    <a:pt x="756" y="1563"/>
                  </a:lnTo>
                  <a:lnTo>
                    <a:pt x="756" y="1580"/>
                  </a:lnTo>
                  <a:lnTo>
                    <a:pt x="756" y="1633"/>
                  </a:lnTo>
                  <a:lnTo>
                    <a:pt x="756" y="1616"/>
                  </a:lnTo>
                  <a:lnTo>
                    <a:pt x="791" y="1598"/>
                  </a:lnTo>
                  <a:lnTo>
                    <a:pt x="826" y="1598"/>
                  </a:lnTo>
                  <a:lnTo>
                    <a:pt x="878" y="1580"/>
                  </a:lnTo>
                  <a:lnTo>
                    <a:pt x="931" y="1563"/>
                  </a:lnTo>
                  <a:lnTo>
                    <a:pt x="949" y="1545"/>
                  </a:lnTo>
                  <a:lnTo>
                    <a:pt x="931" y="1528"/>
                  </a:lnTo>
                  <a:lnTo>
                    <a:pt x="931" y="1510"/>
                  </a:lnTo>
                  <a:lnTo>
                    <a:pt x="931" y="1493"/>
                  </a:lnTo>
                  <a:lnTo>
                    <a:pt x="949" y="1475"/>
                  </a:lnTo>
                  <a:lnTo>
                    <a:pt x="966" y="1457"/>
                  </a:lnTo>
                  <a:lnTo>
                    <a:pt x="1037" y="1405"/>
                  </a:lnTo>
                  <a:lnTo>
                    <a:pt x="1072" y="1352"/>
                  </a:lnTo>
                  <a:lnTo>
                    <a:pt x="1054" y="1317"/>
                  </a:lnTo>
                  <a:lnTo>
                    <a:pt x="1001" y="1299"/>
                  </a:lnTo>
                  <a:lnTo>
                    <a:pt x="984" y="1317"/>
                  </a:lnTo>
                  <a:lnTo>
                    <a:pt x="966" y="1335"/>
                  </a:lnTo>
                  <a:lnTo>
                    <a:pt x="966" y="1352"/>
                  </a:lnTo>
                  <a:lnTo>
                    <a:pt x="949" y="1352"/>
                  </a:lnTo>
                  <a:lnTo>
                    <a:pt x="896" y="1335"/>
                  </a:lnTo>
                  <a:lnTo>
                    <a:pt x="861" y="1335"/>
                  </a:lnTo>
                  <a:lnTo>
                    <a:pt x="861" y="1317"/>
                  </a:lnTo>
                  <a:lnTo>
                    <a:pt x="878" y="1247"/>
                  </a:lnTo>
                  <a:lnTo>
                    <a:pt x="914" y="1194"/>
                  </a:lnTo>
                  <a:lnTo>
                    <a:pt x="949" y="1194"/>
                  </a:lnTo>
                  <a:lnTo>
                    <a:pt x="966" y="1194"/>
                  </a:lnTo>
                  <a:lnTo>
                    <a:pt x="966" y="1176"/>
                  </a:lnTo>
                  <a:lnTo>
                    <a:pt x="966" y="1159"/>
                  </a:lnTo>
                  <a:lnTo>
                    <a:pt x="966" y="1124"/>
                  </a:lnTo>
                  <a:lnTo>
                    <a:pt x="966" y="1089"/>
                  </a:lnTo>
                  <a:lnTo>
                    <a:pt x="984" y="1036"/>
                  </a:lnTo>
                  <a:lnTo>
                    <a:pt x="984" y="1001"/>
                  </a:lnTo>
                  <a:lnTo>
                    <a:pt x="966" y="966"/>
                  </a:lnTo>
                  <a:lnTo>
                    <a:pt x="949" y="913"/>
                  </a:lnTo>
                  <a:lnTo>
                    <a:pt x="949" y="895"/>
                  </a:lnTo>
                  <a:lnTo>
                    <a:pt x="949" y="878"/>
                  </a:lnTo>
                  <a:lnTo>
                    <a:pt x="1037" y="913"/>
                  </a:lnTo>
                  <a:lnTo>
                    <a:pt x="1124" y="966"/>
                  </a:lnTo>
                  <a:lnTo>
                    <a:pt x="1142" y="1001"/>
                  </a:lnTo>
                  <a:lnTo>
                    <a:pt x="1160" y="1001"/>
                  </a:lnTo>
                  <a:lnTo>
                    <a:pt x="1195" y="1018"/>
                  </a:lnTo>
                  <a:lnTo>
                    <a:pt x="1247" y="1018"/>
                  </a:lnTo>
                  <a:lnTo>
                    <a:pt x="1247" y="1036"/>
                  </a:lnTo>
                  <a:lnTo>
                    <a:pt x="1265" y="1036"/>
                  </a:lnTo>
                  <a:lnTo>
                    <a:pt x="1283" y="1018"/>
                  </a:lnTo>
                  <a:lnTo>
                    <a:pt x="1318" y="1054"/>
                  </a:lnTo>
                  <a:lnTo>
                    <a:pt x="1318" y="1071"/>
                  </a:lnTo>
                  <a:lnTo>
                    <a:pt x="1353" y="1071"/>
                  </a:lnTo>
                  <a:lnTo>
                    <a:pt x="1370" y="1071"/>
                  </a:lnTo>
                  <a:lnTo>
                    <a:pt x="1370" y="1036"/>
                  </a:lnTo>
                  <a:lnTo>
                    <a:pt x="1370" y="983"/>
                  </a:lnTo>
                  <a:lnTo>
                    <a:pt x="1370" y="913"/>
                  </a:lnTo>
                  <a:lnTo>
                    <a:pt x="1353" y="913"/>
                  </a:lnTo>
                  <a:lnTo>
                    <a:pt x="1353" y="895"/>
                  </a:lnTo>
                  <a:lnTo>
                    <a:pt x="1335" y="895"/>
                  </a:lnTo>
                  <a:lnTo>
                    <a:pt x="1335" y="878"/>
                  </a:lnTo>
                  <a:lnTo>
                    <a:pt x="1335" y="825"/>
                  </a:lnTo>
                  <a:lnTo>
                    <a:pt x="1370" y="790"/>
                  </a:lnTo>
                  <a:lnTo>
                    <a:pt x="1406" y="755"/>
                  </a:lnTo>
                  <a:lnTo>
                    <a:pt x="1423" y="720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67"/>
            <p:cNvSpPr>
              <a:spLocks/>
            </p:cNvSpPr>
            <p:nvPr/>
          </p:nvSpPr>
          <p:spPr bwMode="auto">
            <a:xfrm>
              <a:off x="4671979" y="3041197"/>
              <a:ext cx="42435" cy="53354"/>
            </a:xfrm>
            <a:custGeom>
              <a:avLst/>
              <a:gdLst>
                <a:gd name="T0" fmla="*/ 53 w 70"/>
                <a:gd name="T1" fmla="*/ 35 h 88"/>
                <a:gd name="T2" fmla="*/ 53 w 70"/>
                <a:gd name="T3" fmla="*/ 35 h 88"/>
                <a:gd name="T4" fmla="*/ 35 w 70"/>
                <a:gd name="T5" fmla="*/ 17 h 88"/>
                <a:gd name="T6" fmla="*/ 35 w 70"/>
                <a:gd name="T7" fmla="*/ 0 h 88"/>
                <a:gd name="T8" fmla="*/ 35 w 70"/>
                <a:gd name="T9" fmla="*/ 0 h 88"/>
                <a:gd name="T10" fmla="*/ 17 w 70"/>
                <a:gd name="T11" fmla="*/ 17 h 88"/>
                <a:gd name="T12" fmla="*/ 0 w 70"/>
                <a:gd name="T13" fmla="*/ 52 h 88"/>
                <a:gd name="T14" fmla="*/ 0 w 70"/>
                <a:gd name="T15" fmla="*/ 52 h 88"/>
                <a:gd name="T16" fmla="*/ 0 w 70"/>
                <a:gd name="T17" fmla="*/ 70 h 88"/>
                <a:gd name="T18" fmla="*/ 17 w 70"/>
                <a:gd name="T19" fmla="*/ 70 h 88"/>
                <a:gd name="T20" fmla="*/ 70 w 70"/>
                <a:gd name="T21" fmla="*/ 88 h 88"/>
                <a:gd name="T22" fmla="*/ 70 w 70"/>
                <a:gd name="T23" fmla="*/ 88 h 88"/>
                <a:gd name="T24" fmla="*/ 70 w 70"/>
                <a:gd name="T25" fmla="*/ 52 h 88"/>
                <a:gd name="T26" fmla="*/ 70 w 70"/>
                <a:gd name="T27" fmla="*/ 52 h 88"/>
                <a:gd name="T28" fmla="*/ 70 w 70"/>
                <a:gd name="T29" fmla="*/ 52 h 88"/>
                <a:gd name="T30" fmla="*/ 53 w 70"/>
                <a:gd name="T31" fmla="*/ 35 h 88"/>
                <a:gd name="T32" fmla="*/ 53 w 70"/>
                <a:gd name="T33" fmla="*/ 35 h 88"/>
                <a:gd name="T34" fmla="*/ 53 w 70"/>
                <a:gd name="T35" fmla="*/ 35 h 8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0"/>
                <a:gd name="T55" fmla="*/ 0 h 88"/>
                <a:gd name="T56" fmla="*/ 70 w 70"/>
                <a:gd name="T57" fmla="*/ 88 h 8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0" h="88">
                  <a:moveTo>
                    <a:pt x="53" y="35"/>
                  </a:moveTo>
                  <a:lnTo>
                    <a:pt x="53" y="35"/>
                  </a:lnTo>
                  <a:lnTo>
                    <a:pt x="35" y="17"/>
                  </a:lnTo>
                  <a:lnTo>
                    <a:pt x="35" y="0"/>
                  </a:lnTo>
                  <a:lnTo>
                    <a:pt x="17" y="17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17" y="70"/>
                  </a:lnTo>
                  <a:lnTo>
                    <a:pt x="70" y="88"/>
                  </a:lnTo>
                  <a:lnTo>
                    <a:pt x="70" y="52"/>
                  </a:lnTo>
                  <a:lnTo>
                    <a:pt x="53" y="35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68"/>
            <p:cNvSpPr>
              <a:spLocks/>
            </p:cNvSpPr>
            <p:nvPr/>
          </p:nvSpPr>
          <p:spPr bwMode="auto">
            <a:xfrm>
              <a:off x="1934892" y="2657413"/>
              <a:ext cx="628045" cy="799096"/>
            </a:xfrm>
            <a:custGeom>
              <a:avLst/>
              <a:gdLst>
                <a:gd name="T0" fmla="*/ 597 w 1036"/>
                <a:gd name="T1" fmla="*/ 1318 h 1318"/>
                <a:gd name="T2" fmla="*/ 545 w 1036"/>
                <a:gd name="T3" fmla="*/ 1247 h 1318"/>
                <a:gd name="T4" fmla="*/ 474 w 1036"/>
                <a:gd name="T5" fmla="*/ 1230 h 1318"/>
                <a:gd name="T6" fmla="*/ 404 w 1036"/>
                <a:gd name="T7" fmla="*/ 1212 h 1318"/>
                <a:gd name="T8" fmla="*/ 334 w 1036"/>
                <a:gd name="T9" fmla="*/ 1142 h 1318"/>
                <a:gd name="T10" fmla="*/ 263 w 1036"/>
                <a:gd name="T11" fmla="*/ 1072 h 1318"/>
                <a:gd name="T12" fmla="*/ 263 w 1036"/>
                <a:gd name="T13" fmla="*/ 1107 h 1318"/>
                <a:gd name="T14" fmla="*/ 246 w 1036"/>
                <a:gd name="T15" fmla="*/ 1125 h 1318"/>
                <a:gd name="T16" fmla="*/ 123 w 1036"/>
                <a:gd name="T17" fmla="*/ 1072 h 1318"/>
                <a:gd name="T18" fmla="*/ 88 w 1036"/>
                <a:gd name="T19" fmla="*/ 1054 h 1318"/>
                <a:gd name="T20" fmla="*/ 70 w 1036"/>
                <a:gd name="T21" fmla="*/ 931 h 1318"/>
                <a:gd name="T22" fmla="*/ 17 w 1036"/>
                <a:gd name="T23" fmla="*/ 844 h 1318"/>
                <a:gd name="T24" fmla="*/ 0 w 1036"/>
                <a:gd name="T25" fmla="*/ 721 h 1318"/>
                <a:gd name="T26" fmla="*/ 228 w 1036"/>
                <a:gd name="T27" fmla="*/ 703 h 1318"/>
                <a:gd name="T28" fmla="*/ 351 w 1036"/>
                <a:gd name="T29" fmla="*/ 685 h 1318"/>
                <a:gd name="T30" fmla="*/ 386 w 1036"/>
                <a:gd name="T31" fmla="*/ 633 h 1318"/>
                <a:gd name="T32" fmla="*/ 404 w 1036"/>
                <a:gd name="T33" fmla="*/ 440 h 1318"/>
                <a:gd name="T34" fmla="*/ 439 w 1036"/>
                <a:gd name="T35" fmla="*/ 440 h 1318"/>
                <a:gd name="T36" fmla="*/ 509 w 1036"/>
                <a:gd name="T37" fmla="*/ 387 h 1318"/>
                <a:gd name="T38" fmla="*/ 509 w 1036"/>
                <a:gd name="T39" fmla="*/ 334 h 1318"/>
                <a:gd name="T40" fmla="*/ 562 w 1036"/>
                <a:gd name="T41" fmla="*/ 317 h 1318"/>
                <a:gd name="T42" fmla="*/ 562 w 1036"/>
                <a:gd name="T43" fmla="*/ 211 h 1318"/>
                <a:gd name="T44" fmla="*/ 615 w 1036"/>
                <a:gd name="T45" fmla="*/ 211 h 1318"/>
                <a:gd name="T46" fmla="*/ 632 w 1036"/>
                <a:gd name="T47" fmla="*/ 159 h 1318"/>
                <a:gd name="T48" fmla="*/ 650 w 1036"/>
                <a:gd name="T49" fmla="*/ 141 h 1318"/>
                <a:gd name="T50" fmla="*/ 755 w 1036"/>
                <a:gd name="T51" fmla="*/ 106 h 1318"/>
                <a:gd name="T52" fmla="*/ 808 w 1036"/>
                <a:gd name="T53" fmla="*/ 0 h 1318"/>
                <a:gd name="T54" fmla="*/ 878 w 1036"/>
                <a:gd name="T55" fmla="*/ 53 h 1318"/>
                <a:gd name="T56" fmla="*/ 949 w 1036"/>
                <a:gd name="T57" fmla="*/ 141 h 1318"/>
                <a:gd name="T58" fmla="*/ 949 w 1036"/>
                <a:gd name="T59" fmla="*/ 194 h 1318"/>
                <a:gd name="T60" fmla="*/ 949 w 1036"/>
                <a:gd name="T61" fmla="*/ 211 h 1318"/>
                <a:gd name="T62" fmla="*/ 1036 w 1036"/>
                <a:gd name="T63" fmla="*/ 229 h 1318"/>
                <a:gd name="T64" fmla="*/ 1036 w 1036"/>
                <a:gd name="T65" fmla="*/ 334 h 1318"/>
                <a:gd name="T66" fmla="*/ 1019 w 1036"/>
                <a:gd name="T67" fmla="*/ 440 h 1318"/>
                <a:gd name="T68" fmla="*/ 931 w 1036"/>
                <a:gd name="T69" fmla="*/ 510 h 1318"/>
                <a:gd name="T70" fmla="*/ 861 w 1036"/>
                <a:gd name="T71" fmla="*/ 633 h 1318"/>
                <a:gd name="T72" fmla="*/ 861 w 1036"/>
                <a:gd name="T73" fmla="*/ 703 h 1318"/>
                <a:gd name="T74" fmla="*/ 861 w 1036"/>
                <a:gd name="T75" fmla="*/ 791 h 1318"/>
                <a:gd name="T76" fmla="*/ 861 w 1036"/>
                <a:gd name="T77" fmla="*/ 879 h 1318"/>
                <a:gd name="T78" fmla="*/ 808 w 1036"/>
                <a:gd name="T79" fmla="*/ 896 h 1318"/>
                <a:gd name="T80" fmla="*/ 790 w 1036"/>
                <a:gd name="T81" fmla="*/ 879 h 1318"/>
                <a:gd name="T82" fmla="*/ 755 w 1036"/>
                <a:gd name="T83" fmla="*/ 879 h 1318"/>
                <a:gd name="T84" fmla="*/ 755 w 1036"/>
                <a:gd name="T85" fmla="*/ 879 h 1318"/>
                <a:gd name="T86" fmla="*/ 720 w 1036"/>
                <a:gd name="T87" fmla="*/ 966 h 1318"/>
                <a:gd name="T88" fmla="*/ 703 w 1036"/>
                <a:gd name="T89" fmla="*/ 1072 h 1318"/>
                <a:gd name="T90" fmla="*/ 703 w 1036"/>
                <a:gd name="T91" fmla="*/ 1089 h 1318"/>
                <a:gd name="T92" fmla="*/ 720 w 1036"/>
                <a:gd name="T93" fmla="*/ 1107 h 1318"/>
                <a:gd name="T94" fmla="*/ 720 w 1036"/>
                <a:gd name="T95" fmla="*/ 1125 h 1318"/>
                <a:gd name="T96" fmla="*/ 703 w 1036"/>
                <a:gd name="T97" fmla="*/ 1142 h 1318"/>
                <a:gd name="T98" fmla="*/ 685 w 1036"/>
                <a:gd name="T99" fmla="*/ 1177 h 1318"/>
                <a:gd name="T100" fmla="*/ 668 w 1036"/>
                <a:gd name="T101" fmla="*/ 1212 h 1318"/>
                <a:gd name="T102" fmla="*/ 597 w 1036"/>
                <a:gd name="T103" fmla="*/ 1318 h 1318"/>
                <a:gd name="T104" fmla="*/ 597 w 1036"/>
                <a:gd name="T105" fmla="*/ 1318 h 131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036"/>
                <a:gd name="T160" fmla="*/ 0 h 1318"/>
                <a:gd name="T161" fmla="*/ 1036 w 1036"/>
                <a:gd name="T162" fmla="*/ 1318 h 131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036" h="1318">
                  <a:moveTo>
                    <a:pt x="597" y="1318"/>
                  </a:moveTo>
                  <a:lnTo>
                    <a:pt x="597" y="1318"/>
                  </a:lnTo>
                  <a:lnTo>
                    <a:pt x="580" y="1283"/>
                  </a:lnTo>
                  <a:lnTo>
                    <a:pt x="545" y="1247"/>
                  </a:lnTo>
                  <a:lnTo>
                    <a:pt x="474" y="1230"/>
                  </a:lnTo>
                  <a:lnTo>
                    <a:pt x="439" y="1230"/>
                  </a:lnTo>
                  <a:lnTo>
                    <a:pt x="404" y="1212"/>
                  </a:lnTo>
                  <a:lnTo>
                    <a:pt x="334" y="1142"/>
                  </a:lnTo>
                  <a:lnTo>
                    <a:pt x="299" y="1089"/>
                  </a:lnTo>
                  <a:lnTo>
                    <a:pt x="263" y="1072"/>
                  </a:lnTo>
                  <a:lnTo>
                    <a:pt x="263" y="1107"/>
                  </a:lnTo>
                  <a:lnTo>
                    <a:pt x="246" y="1125"/>
                  </a:lnTo>
                  <a:lnTo>
                    <a:pt x="158" y="1107"/>
                  </a:lnTo>
                  <a:lnTo>
                    <a:pt x="123" y="1072"/>
                  </a:lnTo>
                  <a:lnTo>
                    <a:pt x="88" y="1054"/>
                  </a:lnTo>
                  <a:lnTo>
                    <a:pt x="88" y="984"/>
                  </a:lnTo>
                  <a:lnTo>
                    <a:pt x="70" y="931"/>
                  </a:lnTo>
                  <a:lnTo>
                    <a:pt x="17" y="844"/>
                  </a:lnTo>
                  <a:lnTo>
                    <a:pt x="0" y="773"/>
                  </a:lnTo>
                  <a:lnTo>
                    <a:pt x="0" y="721"/>
                  </a:lnTo>
                  <a:lnTo>
                    <a:pt x="228" y="703"/>
                  </a:lnTo>
                  <a:lnTo>
                    <a:pt x="351" y="685"/>
                  </a:lnTo>
                  <a:lnTo>
                    <a:pt x="369" y="668"/>
                  </a:lnTo>
                  <a:lnTo>
                    <a:pt x="386" y="633"/>
                  </a:lnTo>
                  <a:lnTo>
                    <a:pt x="404" y="562"/>
                  </a:lnTo>
                  <a:lnTo>
                    <a:pt x="404" y="440"/>
                  </a:lnTo>
                  <a:lnTo>
                    <a:pt x="439" y="440"/>
                  </a:lnTo>
                  <a:lnTo>
                    <a:pt x="474" y="422"/>
                  </a:lnTo>
                  <a:lnTo>
                    <a:pt x="509" y="387"/>
                  </a:lnTo>
                  <a:lnTo>
                    <a:pt x="509" y="334"/>
                  </a:lnTo>
                  <a:lnTo>
                    <a:pt x="545" y="317"/>
                  </a:lnTo>
                  <a:lnTo>
                    <a:pt x="562" y="317"/>
                  </a:lnTo>
                  <a:lnTo>
                    <a:pt x="562" y="281"/>
                  </a:lnTo>
                  <a:lnTo>
                    <a:pt x="562" y="211"/>
                  </a:lnTo>
                  <a:lnTo>
                    <a:pt x="615" y="211"/>
                  </a:lnTo>
                  <a:lnTo>
                    <a:pt x="632" y="176"/>
                  </a:lnTo>
                  <a:lnTo>
                    <a:pt x="632" y="159"/>
                  </a:lnTo>
                  <a:lnTo>
                    <a:pt x="650" y="141"/>
                  </a:lnTo>
                  <a:lnTo>
                    <a:pt x="703" y="141"/>
                  </a:lnTo>
                  <a:lnTo>
                    <a:pt x="755" y="106"/>
                  </a:lnTo>
                  <a:lnTo>
                    <a:pt x="790" y="53"/>
                  </a:lnTo>
                  <a:lnTo>
                    <a:pt x="808" y="0"/>
                  </a:lnTo>
                  <a:lnTo>
                    <a:pt x="878" y="53"/>
                  </a:lnTo>
                  <a:lnTo>
                    <a:pt x="931" y="88"/>
                  </a:lnTo>
                  <a:lnTo>
                    <a:pt x="949" y="141"/>
                  </a:lnTo>
                  <a:lnTo>
                    <a:pt x="949" y="194"/>
                  </a:lnTo>
                  <a:lnTo>
                    <a:pt x="949" y="211"/>
                  </a:lnTo>
                  <a:lnTo>
                    <a:pt x="966" y="229"/>
                  </a:lnTo>
                  <a:lnTo>
                    <a:pt x="1036" y="229"/>
                  </a:lnTo>
                  <a:lnTo>
                    <a:pt x="1036" y="334"/>
                  </a:lnTo>
                  <a:lnTo>
                    <a:pt x="1036" y="404"/>
                  </a:lnTo>
                  <a:lnTo>
                    <a:pt x="1019" y="440"/>
                  </a:lnTo>
                  <a:lnTo>
                    <a:pt x="1001" y="475"/>
                  </a:lnTo>
                  <a:lnTo>
                    <a:pt x="931" y="510"/>
                  </a:lnTo>
                  <a:lnTo>
                    <a:pt x="861" y="633"/>
                  </a:lnTo>
                  <a:lnTo>
                    <a:pt x="861" y="668"/>
                  </a:lnTo>
                  <a:lnTo>
                    <a:pt x="861" y="703"/>
                  </a:lnTo>
                  <a:lnTo>
                    <a:pt x="861" y="791"/>
                  </a:lnTo>
                  <a:lnTo>
                    <a:pt x="861" y="879"/>
                  </a:lnTo>
                  <a:lnTo>
                    <a:pt x="843" y="896"/>
                  </a:lnTo>
                  <a:lnTo>
                    <a:pt x="808" y="896"/>
                  </a:lnTo>
                  <a:lnTo>
                    <a:pt x="790" y="879"/>
                  </a:lnTo>
                  <a:lnTo>
                    <a:pt x="755" y="879"/>
                  </a:lnTo>
                  <a:lnTo>
                    <a:pt x="755" y="931"/>
                  </a:lnTo>
                  <a:lnTo>
                    <a:pt x="720" y="966"/>
                  </a:lnTo>
                  <a:lnTo>
                    <a:pt x="703" y="1019"/>
                  </a:lnTo>
                  <a:lnTo>
                    <a:pt x="703" y="1072"/>
                  </a:lnTo>
                  <a:lnTo>
                    <a:pt x="703" y="1089"/>
                  </a:lnTo>
                  <a:lnTo>
                    <a:pt x="720" y="1107"/>
                  </a:lnTo>
                  <a:lnTo>
                    <a:pt x="720" y="1125"/>
                  </a:lnTo>
                  <a:lnTo>
                    <a:pt x="720" y="1142"/>
                  </a:lnTo>
                  <a:lnTo>
                    <a:pt x="703" y="1142"/>
                  </a:lnTo>
                  <a:lnTo>
                    <a:pt x="703" y="1160"/>
                  </a:lnTo>
                  <a:lnTo>
                    <a:pt x="685" y="1177"/>
                  </a:lnTo>
                  <a:lnTo>
                    <a:pt x="668" y="1212"/>
                  </a:lnTo>
                  <a:lnTo>
                    <a:pt x="650" y="1247"/>
                  </a:lnTo>
                  <a:lnTo>
                    <a:pt x="597" y="1318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 69"/>
            <p:cNvSpPr>
              <a:spLocks/>
            </p:cNvSpPr>
            <p:nvPr/>
          </p:nvSpPr>
          <p:spPr bwMode="auto">
            <a:xfrm>
              <a:off x="2595066" y="4606649"/>
              <a:ext cx="479521" cy="660254"/>
            </a:xfrm>
            <a:custGeom>
              <a:avLst/>
              <a:gdLst>
                <a:gd name="T0" fmla="*/ 439 w 791"/>
                <a:gd name="T1" fmla="*/ 966 h 1089"/>
                <a:gd name="T2" fmla="*/ 492 w 791"/>
                <a:gd name="T3" fmla="*/ 895 h 1089"/>
                <a:gd name="T4" fmla="*/ 510 w 791"/>
                <a:gd name="T5" fmla="*/ 808 h 1089"/>
                <a:gd name="T6" fmla="*/ 580 w 791"/>
                <a:gd name="T7" fmla="*/ 737 h 1089"/>
                <a:gd name="T8" fmla="*/ 668 w 791"/>
                <a:gd name="T9" fmla="*/ 720 h 1089"/>
                <a:gd name="T10" fmla="*/ 738 w 791"/>
                <a:gd name="T11" fmla="*/ 579 h 1089"/>
                <a:gd name="T12" fmla="*/ 720 w 791"/>
                <a:gd name="T13" fmla="*/ 579 h 1089"/>
                <a:gd name="T14" fmla="*/ 633 w 791"/>
                <a:gd name="T15" fmla="*/ 614 h 1089"/>
                <a:gd name="T16" fmla="*/ 545 w 791"/>
                <a:gd name="T17" fmla="*/ 579 h 1089"/>
                <a:gd name="T18" fmla="*/ 492 w 791"/>
                <a:gd name="T19" fmla="*/ 562 h 1089"/>
                <a:gd name="T20" fmla="*/ 474 w 791"/>
                <a:gd name="T21" fmla="*/ 456 h 1089"/>
                <a:gd name="T22" fmla="*/ 527 w 791"/>
                <a:gd name="T23" fmla="*/ 404 h 1089"/>
                <a:gd name="T24" fmla="*/ 580 w 791"/>
                <a:gd name="T25" fmla="*/ 421 h 1089"/>
                <a:gd name="T26" fmla="*/ 562 w 791"/>
                <a:gd name="T27" fmla="*/ 474 h 1089"/>
                <a:gd name="T28" fmla="*/ 597 w 791"/>
                <a:gd name="T29" fmla="*/ 474 h 1089"/>
                <a:gd name="T30" fmla="*/ 633 w 791"/>
                <a:gd name="T31" fmla="*/ 509 h 1089"/>
                <a:gd name="T32" fmla="*/ 668 w 791"/>
                <a:gd name="T33" fmla="*/ 474 h 1089"/>
                <a:gd name="T34" fmla="*/ 756 w 791"/>
                <a:gd name="T35" fmla="*/ 474 h 1089"/>
                <a:gd name="T36" fmla="*/ 773 w 791"/>
                <a:gd name="T37" fmla="*/ 439 h 1089"/>
                <a:gd name="T38" fmla="*/ 773 w 791"/>
                <a:gd name="T39" fmla="*/ 351 h 1089"/>
                <a:gd name="T40" fmla="*/ 791 w 791"/>
                <a:gd name="T41" fmla="*/ 298 h 1089"/>
                <a:gd name="T42" fmla="*/ 756 w 791"/>
                <a:gd name="T43" fmla="*/ 316 h 1089"/>
                <a:gd name="T44" fmla="*/ 668 w 791"/>
                <a:gd name="T45" fmla="*/ 281 h 1089"/>
                <a:gd name="T46" fmla="*/ 615 w 791"/>
                <a:gd name="T47" fmla="*/ 193 h 1089"/>
                <a:gd name="T48" fmla="*/ 562 w 791"/>
                <a:gd name="T49" fmla="*/ 193 h 1089"/>
                <a:gd name="T50" fmla="*/ 545 w 791"/>
                <a:gd name="T51" fmla="*/ 158 h 1089"/>
                <a:gd name="T52" fmla="*/ 492 w 791"/>
                <a:gd name="T53" fmla="*/ 123 h 1089"/>
                <a:gd name="T54" fmla="*/ 457 w 791"/>
                <a:gd name="T55" fmla="*/ 87 h 1089"/>
                <a:gd name="T56" fmla="*/ 404 w 791"/>
                <a:gd name="T57" fmla="*/ 70 h 1089"/>
                <a:gd name="T58" fmla="*/ 369 w 791"/>
                <a:gd name="T59" fmla="*/ 0 h 1089"/>
                <a:gd name="T60" fmla="*/ 299 w 791"/>
                <a:gd name="T61" fmla="*/ 52 h 1089"/>
                <a:gd name="T62" fmla="*/ 211 w 791"/>
                <a:gd name="T63" fmla="*/ 52 h 1089"/>
                <a:gd name="T64" fmla="*/ 246 w 791"/>
                <a:gd name="T65" fmla="*/ 123 h 1089"/>
                <a:gd name="T66" fmla="*/ 176 w 791"/>
                <a:gd name="T67" fmla="*/ 175 h 1089"/>
                <a:gd name="T68" fmla="*/ 88 w 791"/>
                <a:gd name="T69" fmla="*/ 210 h 1089"/>
                <a:gd name="T70" fmla="*/ 88 w 791"/>
                <a:gd name="T71" fmla="*/ 281 h 1089"/>
                <a:gd name="T72" fmla="*/ 0 w 791"/>
                <a:gd name="T73" fmla="*/ 351 h 1089"/>
                <a:gd name="T74" fmla="*/ 0 w 791"/>
                <a:gd name="T75" fmla="*/ 456 h 1089"/>
                <a:gd name="T76" fmla="*/ 35 w 791"/>
                <a:gd name="T77" fmla="*/ 597 h 1089"/>
                <a:gd name="T78" fmla="*/ 70 w 791"/>
                <a:gd name="T79" fmla="*/ 737 h 1089"/>
                <a:gd name="T80" fmla="*/ 88 w 791"/>
                <a:gd name="T81" fmla="*/ 808 h 1089"/>
                <a:gd name="T82" fmla="*/ 123 w 791"/>
                <a:gd name="T83" fmla="*/ 808 h 1089"/>
                <a:gd name="T84" fmla="*/ 158 w 791"/>
                <a:gd name="T85" fmla="*/ 825 h 1089"/>
                <a:gd name="T86" fmla="*/ 158 w 791"/>
                <a:gd name="T87" fmla="*/ 878 h 1089"/>
                <a:gd name="T88" fmla="*/ 123 w 791"/>
                <a:gd name="T89" fmla="*/ 913 h 1089"/>
                <a:gd name="T90" fmla="*/ 141 w 791"/>
                <a:gd name="T91" fmla="*/ 966 h 1089"/>
                <a:gd name="T92" fmla="*/ 123 w 791"/>
                <a:gd name="T93" fmla="*/ 1018 h 1089"/>
                <a:gd name="T94" fmla="*/ 193 w 791"/>
                <a:gd name="T95" fmla="*/ 1053 h 1089"/>
                <a:gd name="T96" fmla="*/ 246 w 791"/>
                <a:gd name="T97" fmla="*/ 1053 h 1089"/>
                <a:gd name="T98" fmla="*/ 299 w 791"/>
                <a:gd name="T99" fmla="*/ 1089 h 1089"/>
                <a:gd name="T100" fmla="*/ 351 w 791"/>
                <a:gd name="T101" fmla="*/ 1089 h 1089"/>
                <a:gd name="T102" fmla="*/ 439 w 791"/>
                <a:gd name="T103" fmla="*/ 1018 h 108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91"/>
                <a:gd name="T157" fmla="*/ 0 h 1089"/>
                <a:gd name="T158" fmla="*/ 791 w 791"/>
                <a:gd name="T159" fmla="*/ 1089 h 108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91" h="1089">
                  <a:moveTo>
                    <a:pt x="422" y="983"/>
                  </a:moveTo>
                  <a:lnTo>
                    <a:pt x="422" y="983"/>
                  </a:lnTo>
                  <a:lnTo>
                    <a:pt x="439" y="966"/>
                  </a:lnTo>
                  <a:lnTo>
                    <a:pt x="457" y="931"/>
                  </a:lnTo>
                  <a:lnTo>
                    <a:pt x="492" y="895"/>
                  </a:lnTo>
                  <a:lnTo>
                    <a:pt x="510" y="860"/>
                  </a:lnTo>
                  <a:lnTo>
                    <a:pt x="510" y="825"/>
                  </a:lnTo>
                  <a:lnTo>
                    <a:pt x="510" y="808"/>
                  </a:lnTo>
                  <a:lnTo>
                    <a:pt x="527" y="772"/>
                  </a:lnTo>
                  <a:lnTo>
                    <a:pt x="580" y="737"/>
                  </a:lnTo>
                  <a:lnTo>
                    <a:pt x="633" y="720"/>
                  </a:lnTo>
                  <a:lnTo>
                    <a:pt x="668" y="720"/>
                  </a:lnTo>
                  <a:lnTo>
                    <a:pt x="703" y="667"/>
                  </a:lnTo>
                  <a:lnTo>
                    <a:pt x="738" y="579"/>
                  </a:lnTo>
                  <a:lnTo>
                    <a:pt x="720" y="579"/>
                  </a:lnTo>
                  <a:lnTo>
                    <a:pt x="685" y="597"/>
                  </a:lnTo>
                  <a:lnTo>
                    <a:pt x="633" y="614"/>
                  </a:lnTo>
                  <a:lnTo>
                    <a:pt x="580" y="597"/>
                  </a:lnTo>
                  <a:lnTo>
                    <a:pt x="545" y="579"/>
                  </a:lnTo>
                  <a:lnTo>
                    <a:pt x="510" y="579"/>
                  </a:lnTo>
                  <a:lnTo>
                    <a:pt x="492" y="562"/>
                  </a:lnTo>
                  <a:lnTo>
                    <a:pt x="474" y="509"/>
                  </a:lnTo>
                  <a:lnTo>
                    <a:pt x="474" y="456"/>
                  </a:lnTo>
                  <a:lnTo>
                    <a:pt x="492" y="421"/>
                  </a:lnTo>
                  <a:lnTo>
                    <a:pt x="527" y="404"/>
                  </a:lnTo>
                  <a:lnTo>
                    <a:pt x="562" y="404"/>
                  </a:lnTo>
                  <a:lnTo>
                    <a:pt x="580" y="404"/>
                  </a:lnTo>
                  <a:lnTo>
                    <a:pt x="580" y="421"/>
                  </a:lnTo>
                  <a:lnTo>
                    <a:pt x="580" y="456"/>
                  </a:lnTo>
                  <a:lnTo>
                    <a:pt x="562" y="474"/>
                  </a:lnTo>
                  <a:lnTo>
                    <a:pt x="580" y="474"/>
                  </a:lnTo>
                  <a:lnTo>
                    <a:pt x="597" y="474"/>
                  </a:lnTo>
                  <a:lnTo>
                    <a:pt x="615" y="491"/>
                  </a:lnTo>
                  <a:lnTo>
                    <a:pt x="633" y="509"/>
                  </a:lnTo>
                  <a:lnTo>
                    <a:pt x="650" y="509"/>
                  </a:lnTo>
                  <a:lnTo>
                    <a:pt x="668" y="474"/>
                  </a:lnTo>
                  <a:lnTo>
                    <a:pt x="720" y="474"/>
                  </a:lnTo>
                  <a:lnTo>
                    <a:pt x="756" y="474"/>
                  </a:lnTo>
                  <a:lnTo>
                    <a:pt x="773" y="456"/>
                  </a:lnTo>
                  <a:lnTo>
                    <a:pt x="773" y="439"/>
                  </a:lnTo>
                  <a:lnTo>
                    <a:pt x="756" y="404"/>
                  </a:lnTo>
                  <a:lnTo>
                    <a:pt x="773" y="351"/>
                  </a:lnTo>
                  <a:lnTo>
                    <a:pt x="791" y="298"/>
                  </a:lnTo>
                  <a:lnTo>
                    <a:pt x="773" y="298"/>
                  </a:lnTo>
                  <a:lnTo>
                    <a:pt x="756" y="316"/>
                  </a:lnTo>
                  <a:lnTo>
                    <a:pt x="720" y="298"/>
                  </a:lnTo>
                  <a:lnTo>
                    <a:pt x="668" y="281"/>
                  </a:lnTo>
                  <a:lnTo>
                    <a:pt x="633" y="228"/>
                  </a:lnTo>
                  <a:lnTo>
                    <a:pt x="615" y="193"/>
                  </a:lnTo>
                  <a:lnTo>
                    <a:pt x="597" y="210"/>
                  </a:lnTo>
                  <a:lnTo>
                    <a:pt x="562" y="193"/>
                  </a:lnTo>
                  <a:lnTo>
                    <a:pt x="545" y="193"/>
                  </a:lnTo>
                  <a:lnTo>
                    <a:pt x="545" y="175"/>
                  </a:lnTo>
                  <a:lnTo>
                    <a:pt x="545" y="158"/>
                  </a:lnTo>
                  <a:lnTo>
                    <a:pt x="527" y="140"/>
                  </a:lnTo>
                  <a:lnTo>
                    <a:pt x="492" y="123"/>
                  </a:lnTo>
                  <a:lnTo>
                    <a:pt x="474" y="105"/>
                  </a:lnTo>
                  <a:lnTo>
                    <a:pt x="457" y="87"/>
                  </a:lnTo>
                  <a:lnTo>
                    <a:pt x="422" y="87"/>
                  </a:lnTo>
                  <a:lnTo>
                    <a:pt x="404" y="70"/>
                  </a:lnTo>
                  <a:lnTo>
                    <a:pt x="387" y="52"/>
                  </a:lnTo>
                  <a:lnTo>
                    <a:pt x="369" y="0"/>
                  </a:lnTo>
                  <a:lnTo>
                    <a:pt x="351" y="0"/>
                  </a:lnTo>
                  <a:lnTo>
                    <a:pt x="299" y="52"/>
                  </a:lnTo>
                  <a:lnTo>
                    <a:pt x="246" y="52"/>
                  </a:lnTo>
                  <a:lnTo>
                    <a:pt x="211" y="52"/>
                  </a:lnTo>
                  <a:lnTo>
                    <a:pt x="211" y="87"/>
                  </a:lnTo>
                  <a:lnTo>
                    <a:pt x="229" y="87"/>
                  </a:lnTo>
                  <a:lnTo>
                    <a:pt x="246" y="123"/>
                  </a:lnTo>
                  <a:lnTo>
                    <a:pt x="229" y="158"/>
                  </a:lnTo>
                  <a:lnTo>
                    <a:pt x="176" y="175"/>
                  </a:lnTo>
                  <a:lnTo>
                    <a:pt x="70" y="175"/>
                  </a:lnTo>
                  <a:lnTo>
                    <a:pt x="88" y="210"/>
                  </a:lnTo>
                  <a:lnTo>
                    <a:pt x="106" y="228"/>
                  </a:lnTo>
                  <a:lnTo>
                    <a:pt x="88" y="281"/>
                  </a:lnTo>
                  <a:lnTo>
                    <a:pt x="53" y="298"/>
                  </a:lnTo>
                  <a:lnTo>
                    <a:pt x="35" y="316"/>
                  </a:lnTo>
                  <a:lnTo>
                    <a:pt x="0" y="351"/>
                  </a:lnTo>
                  <a:lnTo>
                    <a:pt x="0" y="386"/>
                  </a:lnTo>
                  <a:lnTo>
                    <a:pt x="0" y="456"/>
                  </a:lnTo>
                  <a:lnTo>
                    <a:pt x="18" y="527"/>
                  </a:lnTo>
                  <a:lnTo>
                    <a:pt x="35" y="597"/>
                  </a:lnTo>
                  <a:lnTo>
                    <a:pt x="70" y="650"/>
                  </a:lnTo>
                  <a:lnTo>
                    <a:pt x="70" y="737"/>
                  </a:lnTo>
                  <a:lnTo>
                    <a:pt x="70" y="790"/>
                  </a:lnTo>
                  <a:lnTo>
                    <a:pt x="88" y="808"/>
                  </a:lnTo>
                  <a:lnTo>
                    <a:pt x="88" y="825"/>
                  </a:lnTo>
                  <a:lnTo>
                    <a:pt x="123" y="808"/>
                  </a:lnTo>
                  <a:lnTo>
                    <a:pt x="141" y="808"/>
                  </a:lnTo>
                  <a:lnTo>
                    <a:pt x="158" y="825"/>
                  </a:lnTo>
                  <a:lnTo>
                    <a:pt x="176" y="860"/>
                  </a:lnTo>
                  <a:lnTo>
                    <a:pt x="158" y="878"/>
                  </a:lnTo>
                  <a:lnTo>
                    <a:pt x="141" y="878"/>
                  </a:lnTo>
                  <a:lnTo>
                    <a:pt x="123" y="895"/>
                  </a:lnTo>
                  <a:lnTo>
                    <a:pt x="123" y="913"/>
                  </a:lnTo>
                  <a:lnTo>
                    <a:pt x="141" y="931"/>
                  </a:lnTo>
                  <a:lnTo>
                    <a:pt x="141" y="966"/>
                  </a:lnTo>
                  <a:lnTo>
                    <a:pt x="141" y="983"/>
                  </a:lnTo>
                  <a:lnTo>
                    <a:pt x="123" y="1018"/>
                  </a:lnTo>
                  <a:lnTo>
                    <a:pt x="158" y="1036"/>
                  </a:lnTo>
                  <a:lnTo>
                    <a:pt x="193" y="1053"/>
                  </a:lnTo>
                  <a:lnTo>
                    <a:pt x="246" y="1053"/>
                  </a:lnTo>
                  <a:lnTo>
                    <a:pt x="264" y="1053"/>
                  </a:lnTo>
                  <a:lnTo>
                    <a:pt x="281" y="1071"/>
                  </a:lnTo>
                  <a:lnTo>
                    <a:pt x="299" y="1089"/>
                  </a:lnTo>
                  <a:lnTo>
                    <a:pt x="334" y="1089"/>
                  </a:lnTo>
                  <a:lnTo>
                    <a:pt x="351" y="1089"/>
                  </a:lnTo>
                  <a:lnTo>
                    <a:pt x="387" y="1053"/>
                  </a:lnTo>
                  <a:lnTo>
                    <a:pt x="439" y="1018"/>
                  </a:lnTo>
                  <a:lnTo>
                    <a:pt x="422" y="983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70"/>
            <p:cNvSpPr>
              <a:spLocks/>
            </p:cNvSpPr>
            <p:nvPr/>
          </p:nvSpPr>
          <p:spPr bwMode="auto">
            <a:xfrm>
              <a:off x="1902762" y="4308352"/>
              <a:ext cx="330390" cy="234030"/>
            </a:xfrm>
            <a:custGeom>
              <a:avLst/>
              <a:gdLst>
                <a:gd name="T0" fmla="*/ 158 w 545"/>
                <a:gd name="T1" fmla="*/ 0 h 386"/>
                <a:gd name="T2" fmla="*/ 88 w 545"/>
                <a:gd name="T3" fmla="*/ 88 h 386"/>
                <a:gd name="T4" fmla="*/ 0 w 545"/>
                <a:gd name="T5" fmla="*/ 140 h 386"/>
                <a:gd name="T6" fmla="*/ 70 w 545"/>
                <a:gd name="T7" fmla="*/ 211 h 386"/>
                <a:gd name="T8" fmla="*/ 123 w 545"/>
                <a:gd name="T9" fmla="*/ 193 h 386"/>
                <a:gd name="T10" fmla="*/ 141 w 545"/>
                <a:gd name="T11" fmla="*/ 193 h 386"/>
                <a:gd name="T12" fmla="*/ 176 w 545"/>
                <a:gd name="T13" fmla="*/ 263 h 386"/>
                <a:gd name="T14" fmla="*/ 193 w 545"/>
                <a:gd name="T15" fmla="*/ 334 h 386"/>
                <a:gd name="T16" fmla="*/ 211 w 545"/>
                <a:gd name="T17" fmla="*/ 334 h 386"/>
                <a:gd name="T18" fmla="*/ 264 w 545"/>
                <a:gd name="T19" fmla="*/ 298 h 386"/>
                <a:gd name="T20" fmla="*/ 281 w 545"/>
                <a:gd name="T21" fmla="*/ 316 h 386"/>
                <a:gd name="T22" fmla="*/ 334 w 545"/>
                <a:gd name="T23" fmla="*/ 351 h 386"/>
                <a:gd name="T24" fmla="*/ 369 w 545"/>
                <a:gd name="T25" fmla="*/ 369 h 386"/>
                <a:gd name="T26" fmla="*/ 387 w 545"/>
                <a:gd name="T27" fmla="*/ 369 h 386"/>
                <a:gd name="T28" fmla="*/ 404 w 545"/>
                <a:gd name="T29" fmla="*/ 369 h 386"/>
                <a:gd name="T30" fmla="*/ 439 w 545"/>
                <a:gd name="T31" fmla="*/ 369 h 386"/>
                <a:gd name="T32" fmla="*/ 475 w 545"/>
                <a:gd name="T33" fmla="*/ 386 h 386"/>
                <a:gd name="T34" fmla="*/ 510 w 545"/>
                <a:gd name="T35" fmla="*/ 351 h 386"/>
                <a:gd name="T36" fmla="*/ 510 w 545"/>
                <a:gd name="T37" fmla="*/ 298 h 386"/>
                <a:gd name="T38" fmla="*/ 545 w 545"/>
                <a:gd name="T39" fmla="*/ 263 h 386"/>
                <a:gd name="T40" fmla="*/ 527 w 545"/>
                <a:gd name="T41" fmla="*/ 246 h 386"/>
                <a:gd name="T42" fmla="*/ 510 w 545"/>
                <a:gd name="T43" fmla="*/ 246 h 386"/>
                <a:gd name="T44" fmla="*/ 475 w 545"/>
                <a:gd name="T45" fmla="*/ 176 h 386"/>
                <a:gd name="T46" fmla="*/ 404 w 545"/>
                <a:gd name="T47" fmla="*/ 211 h 386"/>
                <a:gd name="T48" fmla="*/ 334 w 545"/>
                <a:gd name="T49" fmla="*/ 246 h 386"/>
                <a:gd name="T50" fmla="*/ 316 w 545"/>
                <a:gd name="T51" fmla="*/ 228 h 386"/>
                <a:gd name="T52" fmla="*/ 281 w 545"/>
                <a:gd name="T53" fmla="*/ 176 h 386"/>
                <a:gd name="T54" fmla="*/ 281 w 545"/>
                <a:gd name="T55" fmla="*/ 88 h 386"/>
                <a:gd name="T56" fmla="*/ 229 w 545"/>
                <a:gd name="T57" fmla="*/ 53 h 386"/>
                <a:gd name="T58" fmla="*/ 193 w 545"/>
                <a:gd name="T59" fmla="*/ 35 h 386"/>
                <a:gd name="T60" fmla="*/ 158 w 545"/>
                <a:gd name="T61" fmla="*/ 0 h 386"/>
                <a:gd name="T62" fmla="*/ 158 w 545"/>
                <a:gd name="T63" fmla="*/ 0 h 386"/>
                <a:gd name="T64" fmla="*/ 158 w 545"/>
                <a:gd name="T65" fmla="*/ 0 h 38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45"/>
                <a:gd name="T100" fmla="*/ 0 h 386"/>
                <a:gd name="T101" fmla="*/ 545 w 545"/>
                <a:gd name="T102" fmla="*/ 386 h 38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45" h="386">
                  <a:moveTo>
                    <a:pt x="158" y="0"/>
                  </a:moveTo>
                  <a:lnTo>
                    <a:pt x="158" y="0"/>
                  </a:lnTo>
                  <a:lnTo>
                    <a:pt x="123" y="53"/>
                  </a:lnTo>
                  <a:lnTo>
                    <a:pt x="88" y="88"/>
                  </a:lnTo>
                  <a:lnTo>
                    <a:pt x="0" y="140"/>
                  </a:lnTo>
                  <a:lnTo>
                    <a:pt x="35" y="176"/>
                  </a:lnTo>
                  <a:lnTo>
                    <a:pt x="70" y="211"/>
                  </a:lnTo>
                  <a:lnTo>
                    <a:pt x="123" y="193"/>
                  </a:lnTo>
                  <a:lnTo>
                    <a:pt x="141" y="193"/>
                  </a:lnTo>
                  <a:lnTo>
                    <a:pt x="158" y="211"/>
                  </a:lnTo>
                  <a:lnTo>
                    <a:pt x="176" y="263"/>
                  </a:lnTo>
                  <a:lnTo>
                    <a:pt x="176" y="316"/>
                  </a:lnTo>
                  <a:lnTo>
                    <a:pt x="193" y="334"/>
                  </a:lnTo>
                  <a:lnTo>
                    <a:pt x="211" y="334"/>
                  </a:lnTo>
                  <a:lnTo>
                    <a:pt x="229" y="316"/>
                  </a:lnTo>
                  <a:lnTo>
                    <a:pt x="264" y="298"/>
                  </a:lnTo>
                  <a:lnTo>
                    <a:pt x="281" y="316"/>
                  </a:lnTo>
                  <a:lnTo>
                    <a:pt x="316" y="334"/>
                  </a:lnTo>
                  <a:lnTo>
                    <a:pt x="334" y="351"/>
                  </a:lnTo>
                  <a:lnTo>
                    <a:pt x="369" y="369"/>
                  </a:lnTo>
                  <a:lnTo>
                    <a:pt x="387" y="369"/>
                  </a:lnTo>
                  <a:lnTo>
                    <a:pt x="404" y="369"/>
                  </a:lnTo>
                  <a:lnTo>
                    <a:pt x="439" y="369"/>
                  </a:lnTo>
                  <a:lnTo>
                    <a:pt x="475" y="386"/>
                  </a:lnTo>
                  <a:lnTo>
                    <a:pt x="492" y="386"/>
                  </a:lnTo>
                  <a:lnTo>
                    <a:pt x="510" y="351"/>
                  </a:lnTo>
                  <a:lnTo>
                    <a:pt x="510" y="298"/>
                  </a:lnTo>
                  <a:lnTo>
                    <a:pt x="527" y="281"/>
                  </a:lnTo>
                  <a:lnTo>
                    <a:pt x="545" y="263"/>
                  </a:lnTo>
                  <a:lnTo>
                    <a:pt x="527" y="246"/>
                  </a:lnTo>
                  <a:lnTo>
                    <a:pt x="510" y="246"/>
                  </a:lnTo>
                  <a:lnTo>
                    <a:pt x="475" y="176"/>
                  </a:lnTo>
                  <a:lnTo>
                    <a:pt x="439" y="193"/>
                  </a:lnTo>
                  <a:lnTo>
                    <a:pt x="404" y="211"/>
                  </a:lnTo>
                  <a:lnTo>
                    <a:pt x="369" y="228"/>
                  </a:lnTo>
                  <a:lnTo>
                    <a:pt x="334" y="246"/>
                  </a:lnTo>
                  <a:lnTo>
                    <a:pt x="316" y="228"/>
                  </a:lnTo>
                  <a:lnTo>
                    <a:pt x="299" y="211"/>
                  </a:lnTo>
                  <a:lnTo>
                    <a:pt x="281" y="176"/>
                  </a:lnTo>
                  <a:lnTo>
                    <a:pt x="281" y="88"/>
                  </a:lnTo>
                  <a:lnTo>
                    <a:pt x="264" y="53"/>
                  </a:lnTo>
                  <a:lnTo>
                    <a:pt x="229" y="53"/>
                  </a:lnTo>
                  <a:lnTo>
                    <a:pt x="193" y="35"/>
                  </a:lnTo>
                  <a:lnTo>
                    <a:pt x="158" y="17"/>
                  </a:lnTo>
                  <a:lnTo>
                    <a:pt x="158" y="0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 71"/>
            <p:cNvSpPr>
              <a:spLocks/>
            </p:cNvSpPr>
            <p:nvPr/>
          </p:nvSpPr>
          <p:spPr bwMode="auto">
            <a:xfrm>
              <a:off x="4661067" y="5713742"/>
              <a:ext cx="447391" cy="447445"/>
            </a:xfrm>
            <a:custGeom>
              <a:avLst/>
              <a:gdLst>
                <a:gd name="T0" fmla="*/ 18 w 738"/>
                <a:gd name="T1" fmla="*/ 404 h 738"/>
                <a:gd name="T2" fmla="*/ 0 w 738"/>
                <a:gd name="T3" fmla="*/ 422 h 738"/>
                <a:gd name="T4" fmla="*/ 35 w 738"/>
                <a:gd name="T5" fmla="*/ 475 h 738"/>
                <a:gd name="T6" fmla="*/ 88 w 738"/>
                <a:gd name="T7" fmla="*/ 510 h 738"/>
                <a:gd name="T8" fmla="*/ 106 w 738"/>
                <a:gd name="T9" fmla="*/ 545 h 738"/>
                <a:gd name="T10" fmla="*/ 88 w 738"/>
                <a:gd name="T11" fmla="*/ 580 h 738"/>
                <a:gd name="T12" fmla="*/ 141 w 738"/>
                <a:gd name="T13" fmla="*/ 615 h 738"/>
                <a:gd name="T14" fmla="*/ 194 w 738"/>
                <a:gd name="T15" fmla="*/ 633 h 738"/>
                <a:gd name="T16" fmla="*/ 229 w 738"/>
                <a:gd name="T17" fmla="*/ 668 h 738"/>
                <a:gd name="T18" fmla="*/ 264 w 738"/>
                <a:gd name="T19" fmla="*/ 650 h 738"/>
                <a:gd name="T20" fmla="*/ 299 w 738"/>
                <a:gd name="T21" fmla="*/ 615 h 738"/>
                <a:gd name="T22" fmla="*/ 334 w 738"/>
                <a:gd name="T23" fmla="*/ 597 h 738"/>
                <a:gd name="T24" fmla="*/ 334 w 738"/>
                <a:gd name="T25" fmla="*/ 668 h 738"/>
                <a:gd name="T26" fmla="*/ 369 w 738"/>
                <a:gd name="T27" fmla="*/ 720 h 738"/>
                <a:gd name="T28" fmla="*/ 422 w 738"/>
                <a:gd name="T29" fmla="*/ 738 h 738"/>
                <a:gd name="T30" fmla="*/ 492 w 738"/>
                <a:gd name="T31" fmla="*/ 703 h 738"/>
                <a:gd name="T32" fmla="*/ 492 w 738"/>
                <a:gd name="T33" fmla="*/ 668 h 738"/>
                <a:gd name="T34" fmla="*/ 562 w 738"/>
                <a:gd name="T35" fmla="*/ 650 h 738"/>
                <a:gd name="T36" fmla="*/ 650 w 738"/>
                <a:gd name="T37" fmla="*/ 633 h 738"/>
                <a:gd name="T38" fmla="*/ 721 w 738"/>
                <a:gd name="T39" fmla="*/ 580 h 738"/>
                <a:gd name="T40" fmla="*/ 703 w 738"/>
                <a:gd name="T41" fmla="*/ 562 h 738"/>
                <a:gd name="T42" fmla="*/ 685 w 738"/>
                <a:gd name="T43" fmla="*/ 510 h 738"/>
                <a:gd name="T44" fmla="*/ 721 w 738"/>
                <a:gd name="T45" fmla="*/ 475 h 738"/>
                <a:gd name="T46" fmla="*/ 738 w 738"/>
                <a:gd name="T47" fmla="*/ 475 h 738"/>
                <a:gd name="T48" fmla="*/ 738 w 738"/>
                <a:gd name="T49" fmla="*/ 475 h 738"/>
                <a:gd name="T50" fmla="*/ 685 w 738"/>
                <a:gd name="T51" fmla="*/ 404 h 738"/>
                <a:gd name="T52" fmla="*/ 633 w 738"/>
                <a:gd name="T53" fmla="*/ 334 h 738"/>
                <a:gd name="T54" fmla="*/ 615 w 738"/>
                <a:gd name="T55" fmla="*/ 281 h 738"/>
                <a:gd name="T56" fmla="*/ 598 w 738"/>
                <a:gd name="T57" fmla="*/ 246 h 738"/>
                <a:gd name="T58" fmla="*/ 562 w 738"/>
                <a:gd name="T59" fmla="*/ 281 h 738"/>
                <a:gd name="T60" fmla="*/ 510 w 738"/>
                <a:gd name="T61" fmla="*/ 281 h 738"/>
                <a:gd name="T62" fmla="*/ 492 w 738"/>
                <a:gd name="T63" fmla="*/ 246 h 738"/>
                <a:gd name="T64" fmla="*/ 510 w 738"/>
                <a:gd name="T65" fmla="*/ 211 h 738"/>
                <a:gd name="T66" fmla="*/ 510 w 738"/>
                <a:gd name="T67" fmla="*/ 194 h 738"/>
                <a:gd name="T68" fmla="*/ 492 w 738"/>
                <a:gd name="T69" fmla="*/ 194 h 738"/>
                <a:gd name="T70" fmla="*/ 492 w 738"/>
                <a:gd name="T71" fmla="*/ 176 h 738"/>
                <a:gd name="T72" fmla="*/ 510 w 738"/>
                <a:gd name="T73" fmla="*/ 123 h 738"/>
                <a:gd name="T74" fmla="*/ 562 w 738"/>
                <a:gd name="T75" fmla="*/ 88 h 738"/>
                <a:gd name="T76" fmla="*/ 545 w 738"/>
                <a:gd name="T77" fmla="*/ 53 h 738"/>
                <a:gd name="T78" fmla="*/ 440 w 738"/>
                <a:gd name="T79" fmla="*/ 18 h 738"/>
                <a:gd name="T80" fmla="*/ 387 w 738"/>
                <a:gd name="T81" fmla="*/ 0 h 738"/>
                <a:gd name="T82" fmla="*/ 334 w 738"/>
                <a:gd name="T83" fmla="*/ 35 h 738"/>
                <a:gd name="T84" fmla="*/ 334 w 738"/>
                <a:gd name="T85" fmla="*/ 53 h 738"/>
                <a:gd name="T86" fmla="*/ 352 w 738"/>
                <a:gd name="T87" fmla="*/ 123 h 738"/>
                <a:gd name="T88" fmla="*/ 352 w 738"/>
                <a:gd name="T89" fmla="*/ 141 h 738"/>
                <a:gd name="T90" fmla="*/ 229 w 738"/>
                <a:gd name="T91" fmla="*/ 176 h 738"/>
                <a:gd name="T92" fmla="*/ 194 w 738"/>
                <a:gd name="T93" fmla="*/ 176 h 738"/>
                <a:gd name="T94" fmla="*/ 176 w 738"/>
                <a:gd name="T95" fmla="*/ 194 h 738"/>
                <a:gd name="T96" fmla="*/ 18 w 738"/>
                <a:gd name="T97" fmla="*/ 264 h 738"/>
                <a:gd name="T98" fmla="*/ 0 w 738"/>
                <a:gd name="T99" fmla="*/ 299 h 738"/>
                <a:gd name="T100" fmla="*/ 35 w 738"/>
                <a:gd name="T101" fmla="*/ 334 h 738"/>
                <a:gd name="T102" fmla="*/ 53 w 738"/>
                <a:gd name="T103" fmla="*/ 352 h 738"/>
                <a:gd name="T104" fmla="*/ 53 w 738"/>
                <a:gd name="T105" fmla="*/ 387 h 738"/>
                <a:gd name="T106" fmla="*/ 0 w 738"/>
                <a:gd name="T107" fmla="*/ 422 h 738"/>
                <a:gd name="T108" fmla="*/ 18 w 738"/>
                <a:gd name="T109" fmla="*/ 404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38"/>
                <a:gd name="T166" fmla="*/ 0 h 738"/>
                <a:gd name="T167" fmla="*/ 738 w 738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38" h="738">
                  <a:moveTo>
                    <a:pt x="18" y="404"/>
                  </a:moveTo>
                  <a:lnTo>
                    <a:pt x="18" y="404"/>
                  </a:lnTo>
                  <a:lnTo>
                    <a:pt x="0" y="422"/>
                  </a:lnTo>
                  <a:lnTo>
                    <a:pt x="0" y="457"/>
                  </a:lnTo>
                  <a:lnTo>
                    <a:pt x="35" y="475"/>
                  </a:lnTo>
                  <a:lnTo>
                    <a:pt x="88" y="510"/>
                  </a:lnTo>
                  <a:lnTo>
                    <a:pt x="106" y="527"/>
                  </a:lnTo>
                  <a:lnTo>
                    <a:pt x="106" y="545"/>
                  </a:lnTo>
                  <a:lnTo>
                    <a:pt x="88" y="580"/>
                  </a:lnTo>
                  <a:lnTo>
                    <a:pt x="106" y="597"/>
                  </a:lnTo>
                  <a:lnTo>
                    <a:pt x="141" y="615"/>
                  </a:lnTo>
                  <a:lnTo>
                    <a:pt x="194" y="633"/>
                  </a:lnTo>
                  <a:lnTo>
                    <a:pt x="211" y="650"/>
                  </a:lnTo>
                  <a:lnTo>
                    <a:pt x="229" y="668"/>
                  </a:lnTo>
                  <a:lnTo>
                    <a:pt x="264" y="650"/>
                  </a:lnTo>
                  <a:lnTo>
                    <a:pt x="281" y="633"/>
                  </a:lnTo>
                  <a:lnTo>
                    <a:pt x="299" y="615"/>
                  </a:lnTo>
                  <a:lnTo>
                    <a:pt x="334" y="597"/>
                  </a:lnTo>
                  <a:lnTo>
                    <a:pt x="334" y="668"/>
                  </a:lnTo>
                  <a:lnTo>
                    <a:pt x="352" y="703"/>
                  </a:lnTo>
                  <a:lnTo>
                    <a:pt x="369" y="720"/>
                  </a:lnTo>
                  <a:lnTo>
                    <a:pt x="422" y="738"/>
                  </a:lnTo>
                  <a:lnTo>
                    <a:pt x="457" y="720"/>
                  </a:lnTo>
                  <a:lnTo>
                    <a:pt x="492" y="703"/>
                  </a:lnTo>
                  <a:lnTo>
                    <a:pt x="492" y="668"/>
                  </a:lnTo>
                  <a:lnTo>
                    <a:pt x="510" y="650"/>
                  </a:lnTo>
                  <a:lnTo>
                    <a:pt x="562" y="650"/>
                  </a:lnTo>
                  <a:lnTo>
                    <a:pt x="598" y="633"/>
                  </a:lnTo>
                  <a:lnTo>
                    <a:pt x="650" y="633"/>
                  </a:lnTo>
                  <a:lnTo>
                    <a:pt x="721" y="580"/>
                  </a:lnTo>
                  <a:lnTo>
                    <a:pt x="703" y="562"/>
                  </a:lnTo>
                  <a:lnTo>
                    <a:pt x="685" y="510"/>
                  </a:lnTo>
                  <a:lnTo>
                    <a:pt x="685" y="492"/>
                  </a:lnTo>
                  <a:lnTo>
                    <a:pt x="721" y="475"/>
                  </a:lnTo>
                  <a:lnTo>
                    <a:pt x="738" y="475"/>
                  </a:lnTo>
                  <a:lnTo>
                    <a:pt x="721" y="422"/>
                  </a:lnTo>
                  <a:lnTo>
                    <a:pt x="685" y="404"/>
                  </a:lnTo>
                  <a:lnTo>
                    <a:pt x="650" y="369"/>
                  </a:lnTo>
                  <a:lnTo>
                    <a:pt x="633" y="334"/>
                  </a:lnTo>
                  <a:lnTo>
                    <a:pt x="615" y="281"/>
                  </a:lnTo>
                  <a:lnTo>
                    <a:pt x="598" y="246"/>
                  </a:lnTo>
                  <a:lnTo>
                    <a:pt x="580" y="264"/>
                  </a:lnTo>
                  <a:lnTo>
                    <a:pt x="562" y="281"/>
                  </a:lnTo>
                  <a:lnTo>
                    <a:pt x="510" y="281"/>
                  </a:lnTo>
                  <a:lnTo>
                    <a:pt x="492" y="246"/>
                  </a:lnTo>
                  <a:lnTo>
                    <a:pt x="510" y="211"/>
                  </a:lnTo>
                  <a:lnTo>
                    <a:pt x="510" y="194"/>
                  </a:lnTo>
                  <a:lnTo>
                    <a:pt x="492" y="194"/>
                  </a:lnTo>
                  <a:lnTo>
                    <a:pt x="492" y="176"/>
                  </a:lnTo>
                  <a:lnTo>
                    <a:pt x="492" y="141"/>
                  </a:lnTo>
                  <a:lnTo>
                    <a:pt x="510" y="123"/>
                  </a:lnTo>
                  <a:lnTo>
                    <a:pt x="562" y="88"/>
                  </a:lnTo>
                  <a:lnTo>
                    <a:pt x="562" y="71"/>
                  </a:lnTo>
                  <a:lnTo>
                    <a:pt x="545" y="53"/>
                  </a:lnTo>
                  <a:lnTo>
                    <a:pt x="492" y="35"/>
                  </a:lnTo>
                  <a:lnTo>
                    <a:pt x="440" y="18"/>
                  </a:lnTo>
                  <a:lnTo>
                    <a:pt x="387" y="0"/>
                  </a:lnTo>
                  <a:lnTo>
                    <a:pt x="352" y="18"/>
                  </a:lnTo>
                  <a:lnTo>
                    <a:pt x="334" y="35"/>
                  </a:lnTo>
                  <a:lnTo>
                    <a:pt x="334" y="53"/>
                  </a:lnTo>
                  <a:lnTo>
                    <a:pt x="352" y="88"/>
                  </a:lnTo>
                  <a:lnTo>
                    <a:pt x="352" y="123"/>
                  </a:lnTo>
                  <a:lnTo>
                    <a:pt x="352" y="141"/>
                  </a:lnTo>
                  <a:lnTo>
                    <a:pt x="299" y="158"/>
                  </a:lnTo>
                  <a:lnTo>
                    <a:pt x="229" y="176"/>
                  </a:lnTo>
                  <a:lnTo>
                    <a:pt x="194" y="176"/>
                  </a:lnTo>
                  <a:lnTo>
                    <a:pt x="176" y="194"/>
                  </a:lnTo>
                  <a:lnTo>
                    <a:pt x="88" y="246"/>
                  </a:lnTo>
                  <a:lnTo>
                    <a:pt x="18" y="264"/>
                  </a:lnTo>
                  <a:lnTo>
                    <a:pt x="0" y="299"/>
                  </a:lnTo>
                  <a:lnTo>
                    <a:pt x="0" y="316"/>
                  </a:lnTo>
                  <a:lnTo>
                    <a:pt x="35" y="334"/>
                  </a:lnTo>
                  <a:lnTo>
                    <a:pt x="53" y="334"/>
                  </a:lnTo>
                  <a:lnTo>
                    <a:pt x="53" y="352"/>
                  </a:lnTo>
                  <a:lnTo>
                    <a:pt x="53" y="387"/>
                  </a:lnTo>
                  <a:lnTo>
                    <a:pt x="35" y="387"/>
                  </a:lnTo>
                  <a:lnTo>
                    <a:pt x="0" y="422"/>
                  </a:lnTo>
                  <a:lnTo>
                    <a:pt x="18" y="404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92" name="Freeform 72"/>
            <p:cNvSpPr>
              <a:spLocks/>
            </p:cNvSpPr>
            <p:nvPr/>
          </p:nvSpPr>
          <p:spPr bwMode="auto">
            <a:xfrm>
              <a:off x="5758326" y="4819458"/>
              <a:ext cx="1214260" cy="1107699"/>
            </a:xfrm>
            <a:custGeom>
              <a:avLst/>
              <a:gdLst>
                <a:gd name="T0" fmla="*/ 1230 w 2003"/>
                <a:gd name="T1" fmla="*/ 1739 h 1827"/>
                <a:gd name="T2" fmla="*/ 1317 w 2003"/>
                <a:gd name="T3" fmla="*/ 1598 h 1827"/>
                <a:gd name="T4" fmla="*/ 1230 w 2003"/>
                <a:gd name="T5" fmla="*/ 1563 h 1827"/>
                <a:gd name="T6" fmla="*/ 1282 w 2003"/>
                <a:gd name="T7" fmla="*/ 1475 h 1827"/>
                <a:gd name="T8" fmla="*/ 1247 w 2003"/>
                <a:gd name="T9" fmla="*/ 1423 h 1827"/>
                <a:gd name="T10" fmla="*/ 1370 w 2003"/>
                <a:gd name="T11" fmla="*/ 1387 h 1827"/>
                <a:gd name="T12" fmla="*/ 1440 w 2003"/>
                <a:gd name="T13" fmla="*/ 1335 h 1827"/>
                <a:gd name="T14" fmla="*/ 1528 w 2003"/>
                <a:gd name="T15" fmla="*/ 1300 h 1827"/>
                <a:gd name="T16" fmla="*/ 1616 w 2003"/>
                <a:gd name="T17" fmla="*/ 1177 h 1827"/>
                <a:gd name="T18" fmla="*/ 1721 w 2003"/>
                <a:gd name="T19" fmla="*/ 1089 h 1827"/>
                <a:gd name="T20" fmla="*/ 1827 w 2003"/>
                <a:gd name="T21" fmla="*/ 966 h 1827"/>
                <a:gd name="T22" fmla="*/ 1792 w 2003"/>
                <a:gd name="T23" fmla="*/ 861 h 1827"/>
                <a:gd name="T24" fmla="*/ 1757 w 2003"/>
                <a:gd name="T25" fmla="*/ 773 h 1827"/>
                <a:gd name="T26" fmla="*/ 1862 w 2003"/>
                <a:gd name="T27" fmla="*/ 615 h 1827"/>
                <a:gd name="T28" fmla="*/ 1967 w 2003"/>
                <a:gd name="T29" fmla="*/ 492 h 1827"/>
                <a:gd name="T30" fmla="*/ 2003 w 2003"/>
                <a:gd name="T31" fmla="*/ 404 h 1827"/>
                <a:gd name="T32" fmla="*/ 1915 w 2003"/>
                <a:gd name="T33" fmla="*/ 351 h 1827"/>
                <a:gd name="T34" fmla="*/ 1792 w 2003"/>
                <a:gd name="T35" fmla="*/ 246 h 1827"/>
                <a:gd name="T36" fmla="*/ 1721 w 2003"/>
                <a:gd name="T37" fmla="*/ 123 h 1827"/>
                <a:gd name="T38" fmla="*/ 1721 w 2003"/>
                <a:gd name="T39" fmla="*/ 53 h 1827"/>
                <a:gd name="T40" fmla="*/ 1739 w 2003"/>
                <a:gd name="T41" fmla="*/ 0 h 1827"/>
                <a:gd name="T42" fmla="*/ 1686 w 2003"/>
                <a:gd name="T43" fmla="*/ 18 h 1827"/>
                <a:gd name="T44" fmla="*/ 1581 w 2003"/>
                <a:gd name="T45" fmla="*/ 176 h 1827"/>
                <a:gd name="T46" fmla="*/ 1528 w 2003"/>
                <a:gd name="T47" fmla="*/ 211 h 1827"/>
                <a:gd name="T48" fmla="*/ 1440 w 2003"/>
                <a:gd name="T49" fmla="*/ 211 h 1827"/>
                <a:gd name="T50" fmla="*/ 1388 w 2003"/>
                <a:gd name="T51" fmla="*/ 176 h 1827"/>
                <a:gd name="T52" fmla="*/ 1317 w 2003"/>
                <a:gd name="T53" fmla="*/ 211 h 1827"/>
                <a:gd name="T54" fmla="*/ 1247 w 2003"/>
                <a:gd name="T55" fmla="*/ 193 h 1827"/>
                <a:gd name="T56" fmla="*/ 1177 w 2003"/>
                <a:gd name="T57" fmla="*/ 263 h 1827"/>
                <a:gd name="T58" fmla="*/ 1107 w 2003"/>
                <a:gd name="T59" fmla="*/ 299 h 1827"/>
                <a:gd name="T60" fmla="*/ 1071 w 2003"/>
                <a:gd name="T61" fmla="*/ 351 h 1827"/>
                <a:gd name="T62" fmla="*/ 1001 w 2003"/>
                <a:gd name="T63" fmla="*/ 404 h 1827"/>
                <a:gd name="T64" fmla="*/ 1089 w 2003"/>
                <a:gd name="T65" fmla="*/ 492 h 1827"/>
                <a:gd name="T66" fmla="*/ 1054 w 2003"/>
                <a:gd name="T67" fmla="*/ 650 h 1827"/>
                <a:gd name="T68" fmla="*/ 1107 w 2003"/>
                <a:gd name="T69" fmla="*/ 773 h 1827"/>
                <a:gd name="T70" fmla="*/ 1107 w 2003"/>
                <a:gd name="T71" fmla="*/ 1071 h 1827"/>
                <a:gd name="T72" fmla="*/ 913 w 2003"/>
                <a:gd name="T73" fmla="*/ 1300 h 1827"/>
                <a:gd name="T74" fmla="*/ 861 w 2003"/>
                <a:gd name="T75" fmla="*/ 1440 h 1827"/>
                <a:gd name="T76" fmla="*/ 773 w 2003"/>
                <a:gd name="T77" fmla="*/ 1528 h 1827"/>
                <a:gd name="T78" fmla="*/ 720 w 2003"/>
                <a:gd name="T79" fmla="*/ 1598 h 1827"/>
                <a:gd name="T80" fmla="*/ 685 w 2003"/>
                <a:gd name="T81" fmla="*/ 1616 h 1827"/>
                <a:gd name="T82" fmla="*/ 615 w 2003"/>
                <a:gd name="T83" fmla="*/ 1563 h 1827"/>
                <a:gd name="T84" fmla="*/ 580 w 2003"/>
                <a:gd name="T85" fmla="*/ 1510 h 1827"/>
                <a:gd name="T86" fmla="*/ 492 w 2003"/>
                <a:gd name="T87" fmla="*/ 1458 h 1827"/>
                <a:gd name="T88" fmla="*/ 439 w 2003"/>
                <a:gd name="T89" fmla="*/ 1423 h 1827"/>
                <a:gd name="T90" fmla="*/ 316 w 2003"/>
                <a:gd name="T91" fmla="*/ 1370 h 1827"/>
                <a:gd name="T92" fmla="*/ 211 w 2003"/>
                <a:gd name="T93" fmla="*/ 1335 h 1827"/>
                <a:gd name="T94" fmla="*/ 158 w 2003"/>
                <a:gd name="T95" fmla="*/ 1247 h 1827"/>
                <a:gd name="T96" fmla="*/ 88 w 2003"/>
                <a:gd name="T97" fmla="*/ 1317 h 1827"/>
                <a:gd name="T98" fmla="*/ 17 w 2003"/>
                <a:gd name="T99" fmla="*/ 1370 h 1827"/>
                <a:gd name="T100" fmla="*/ 17 w 2003"/>
                <a:gd name="T101" fmla="*/ 1423 h 1827"/>
                <a:gd name="T102" fmla="*/ 35 w 2003"/>
                <a:gd name="T103" fmla="*/ 1510 h 1827"/>
                <a:gd name="T104" fmla="*/ 474 w 2003"/>
                <a:gd name="T105" fmla="*/ 1633 h 1827"/>
                <a:gd name="T106" fmla="*/ 544 w 2003"/>
                <a:gd name="T107" fmla="*/ 1739 h 1827"/>
                <a:gd name="T108" fmla="*/ 650 w 2003"/>
                <a:gd name="T109" fmla="*/ 1827 h 1827"/>
                <a:gd name="T110" fmla="*/ 913 w 2003"/>
                <a:gd name="T111" fmla="*/ 1721 h 1827"/>
                <a:gd name="T112" fmla="*/ 1071 w 2003"/>
                <a:gd name="T113" fmla="*/ 1704 h 1827"/>
                <a:gd name="T114" fmla="*/ 1194 w 2003"/>
                <a:gd name="T115" fmla="*/ 1739 h 1827"/>
                <a:gd name="T116" fmla="*/ 1230 w 2003"/>
                <a:gd name="T117" fmla="*/ 1739 h 182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003"/>
                <a:gd name="T178" fmla="*/ 0 h 1827"/>
                <a:gd name="T179" fmla="*/ 2003 w 2003"/>
                <a:gd name="T180" fmla="*/ 1827 h 182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003" h="1827">
                  <a:moveTo>
                    <a:pt x="1230" y="1739"/>
                  </a:moveTo>
                  <a:lnTo>
                    <a:pt x="1230" y="1739"/>
                  </a:lnTo>
                  <a:lnTo>
                    <a:pt x="1247" y="1704"/>
                  </a:lnTo>
                  <a:lnTo>
                    <a:pt x="1265" y="1669"/>
                  </a:lnTo>
                  <a:lnTo>
                    <a:pt x="1300" y="1633"/>
                  </a:lnTo>
                  <a:lnTo>
                    <a:pt x="1317" y="1598"/>
                  </a:lnTo>
                  <a:lnTo>
                    <a:pt x="1265" y="1598"/>
                  </a:lnTo>
                  <a:lnTo>
                    <a:pt x="1247" y="1581"/>
                  </a:lnTo>
                  <a:lnTo>
                    <a:pt x="1230" y="1563"/>
                  </a:lnTo>
                  <a:lnTo>
                    <a:pt x="1247" y="1528"/>
                  </a:lnTo>
                  <a:lnTo>
                    <a:pt x="1282" y="1475"/>
                  </a:lnTo>
                  <a:lnTo>
                    <a:pt x="1265" y="1475"/>
                  </a:lnTo>
                  <a:lnTo>
                    <a:pt x="1247" y="1440"/>
                  </a:lnTo>
                  <a:lnTo>
                    <a:pt x="1247" y="1423"/>
                  </a:lnTo>
                  <a:lnTo>
                    <a:pt x="1282" y="1405"/>
                  </a:lnTo>
                  <a:lnTo>
                    <a:pt x="1335" y="1405"/>
                  </a:lnTo>
                  <a:lnTo>
                    <a:pt x="1370" y="1387"/>
                  </a:lnTo>
                  <a:lnTo>
                    <a:pt x="1388" y="1370"/>
                  </a:lnTo>
                  <a:lnTo>
                    <a:pt x="1405" y="1352"/>
                  </a:lnTo>
                  <a:lnTo>
                    <a:pt x="1440" y="1335"/>
                  </a:lnTo>
                  <a:lnTo>
                    <a:pt x="1476" y="1335"/>
                  </a:lnTo>
                  <a:lnTo>
                    <a:pt x="1511" y="1335"/>
                  </a:lnTo>
                  <a:lnTo>
                    <a:pt x="1528" y="1300"/>
                  </a:lnTo>
                  <a:lnTo>
                    <a:pt x="1528" y="1265"/>
                  </a:lnTo>
                  <a:lnTo>
                    <a:pt x="1598" y="1212"/>
                  </a:lnTo>
                  <a:lnTo>
                    <a:pt x="1616" y="1177"/>
                  </a:lnTo>
                  <a:lnTo>
                    <a:pt x="1634" y="1124"/>
                  </a:lnTo>
                  <a:lnTo>
                    <a:pt x="1669" y="1106"/>
                  </a:lnTo>
                  <a:lnTo>
                    <a:pt x="1721" y="1089"/>
                  </a:lnTo>
                  <a:lnTo>
                    <a:pt x="1774" y="1036"/>
                  </a:lnTo>
                  <a:lnTo>
                    <a:pt x="1809" y="984"/>
                  </a:lnTo>
                  <a:lnTo>
                    <a:pt x="1827" y="966"/>
                  </a:lnTo>
                  <a:lnTo>
                    <a:pt x="1844" y="931"/>
                  </a:lnTo>
                  <a:lnTo>
                    <a:pt x="1827" y="878"/>
                  </a:lnTo>
                  <a:lnTo>
                    <a:pt x="1792" y="861"/>
                  </a:lnTo>
                  <a:lnTo>
                    <a:pt x="1757" y="825"/>
                  </a:lnTo>
                  <a:lnTo>
                    <a:pt x="1739" y="790"/>
                  </a:lnTo>
                  <a:lnTo>
                    <a:pt x="1757" y="773"/>
                  </a:lnTo>
                  <a:lnTo>
                    <a:pt x="1774" y="755"/>
                  </a:lnTo>
                  <a:lnTo>
                    <a:pt x="1809" y="738"/>
                  </a:lnTo>
                  <a:lnTo>
                    <a:pt x="1862" y="615"/>
                  </a:lnTo>
                  <a:lnTo>
                    <a:pt x="1880" y="562"/>
                  </a:lnTo>
                  <a:lnTo>
                    <a:pt x="1932" y="527"/>
                  </a:lnTo>
                  <a:lnTo>
                    <a:pt x="1967" y="492"/>
                  </a:lnTo>
                  <a:lnTo>
                    <a:pt x="1985" y="474"/>
                  </a:lnTo>
                  <a:lnTo>
                    <a:pt x="2003" y="439"/>
                  </a:lnTo>
                  <a:lnTo>
                    <a:pt x="2003" y="404"/>
                  </a:lnTo>
                  <a:lnTo>
                    <a:pt x="1985" y="386"/>
                  </a:lnTo>
                  <a:lnTo>
                    <a:pt x="1932" y="369"/>
                  </a:lnTo>
                  <a:lnTo>
                    <a:pt x="1915" y="351"/>
                  </a:lnTo>
                  <a:lnTo>
                    <a:pt x="1897" y="351"/>
                  </a:lnTo>
                  <a:lnTo>
                    <a:pt x="1844" y="334"/>
                  </a:lnTo>
                  <a:lnTo>
                    <a:pt x="1792" y="246"/>
                  </a:lnTo>
                  <a:lnTo>
                    <a:pt x="1739" y="140"/>
                  </a:lnTo>
                  <a:lnTo>
                    <a:pt x="1721" y="123"/>
                  </a:lnTo>
                  <a:lnTo>
                    <a:pt x="1704" y="105"/>
                  </a:lnTo>
                  <a:lnTo>
                    <a:pt x="1721" y="70"/>
                  </a:lnTo>
                  <a:lnTo>
                    <a:pt x="1721" y="53"/>
                  </a:lnTo>
                  <a:lnTo>
                    <a:pt x="1739" y="53"/>
                  </a:lnTo>
                  <a:lnTo>
                    <a:pt x="1739" y="18"/>
                  </a:lnTo>
                  <a:lnTo>
                    <a:pt x="1739" y="0"/>
                  </a:lnTo>
                  <a:lnTo>
                    <a:pt x="1704" y="0"/>
                  </a:lnTo>
                  <a:lnTo>
                    <a:pt x="1686" y="18"/>
                  </a:lnTo>
                  <a:lnTo>
                    <a:pt x="1651" y="70"/>
                  </a:lnTo>
                  <a:lnTo>
                    <a:pt x="1616" y="123"/>
                  </a:lnTo>
                  <a:lnTo>
                    <a:pt x="1598" y="158"/>
                  </a:lnTo>
                  <a:lnTo>
                    <a:pt x="1581" y="176"/>
                  </a:lnTo>
                  <a:lnTo>
                    <a:pt x="1563" y="193"/>
                  </a:lnTo>
                  <a:lnTo>
                    <a:pt x="1546" y="211"/>
                  </a:lnTo>
                  <a:lnTo>
                    <a:pt x="1528" y="211"/>
                  </a:lnTo>
                  <a:lnTo>
                    <a:pt x="1493" y="211"/>
                  </a:lnTo>
                  <a:lnTo>
                    <a:pt x="1440" y="211"/>
                  </a:lnTo>
                  <a:lnTo>
                    <a:pt x="1423" y="211"/>
                  </a:lnTo>
                  <a:lnTo>
                    <a:pt x="1405" y="211"/>
                  </a:lnTo>
                  <a:lnTo>
                    <a:pt x="1388" y="176"/>
                  </a:lnTo>
                  <a:lnTo>
                    <a:pt x="1353" y="193"/>
                  </a:lnTo>
                  <a:lnTo>
                    <a:pt x="1317" y="211"/>
                  </a:lnTo>
                  <a:lnTo>
                    <a:pt x="1282" y="193"/>
                  </a:lnTo>
                  <a:lnTo>
                    <a:pt x="1265" y="176"/>
                  </a:lnTo>
                  <a:lnTo>
                    <a:pt x="1247" y="193"/>
                  </a:lnTo>
                  <a:lnTo>
                    <a:pt x="1247" y="211"/>
                  </a:lnTo>
                  <a:lnTo>
                    <a:pt x="1247" y="263"/>
                  </a:lnTo>
                  <a:lnTo>
                    <a:pt x="1177" y="263"/>
                  </a:lnTo>
                  <a:lnTo>
                    <a:pt x="1124" y="263"/>
                  </a:lnTo>
                  <a:lnTo>
                    <a:pt x="1107" y="281"/>
                  </a:lnTo>
                  <a:lnTo>
                    <a:pt x="1107" y="299"/>
                  </a:lnTo>
                  <a:lnTo>
                    <a:pt x="1107" y="316"/>
                  </a:lnTo>
                  <a:lnTo>
                    <a:pt x="1107" y="334"/>
                  </a:lnTo>
                  <a:lnTo>
                    <a:pt x="1071" y="351"/>
                  </a:lnTo>
                  <a:lnTo>
                    <a:pt x="1036" y="351"/>
                  </a:lnTo>
                  <a:lnTo>
                    <a:pt x="1001" y="386"/>
                  </a:lnTo>
                  <a:lnTo>
                    <a:pt x="1001" y="404"/>
                  </a:lnTo>
                  <a:lnTo>
                    <a:pt x="1001" y="439"/>
                  </a:lnTo>
                  <a:lnTo>
                    <a:pt x="1036" y="457"/>
                  </a:lnTo>
                  <a:lnTo>
                    <a:pt x="1089" y="492"/>
                  </a:lnTo>
                  <a:lnTo>
                    <a:pt x="1054" y="527"/>
                  </a:lnTo>
                  <a:lnTo>
                    <a:pt x="1036" y="597"/>
                  </a:lnTo>
                  <a:lnTo>
                    <a:pt x="1054" y="650"/>
                  </a:lnTo>
                  <a:lnTo>
                    <a:pt x="1089" y="685"/>
                  </a:lnTo>
                  <a:lnTo>
                    <a:pt x="1107" y="755"/>
                  </a:lnTo>
                  <a:lnTo>
                    <a:pt x="1107" y="773"/>
                  </a:lnTo>
                  <a:lnTo>
                    <a:pt x="1142" y="808"/>
                  </a:lnTo>
                  <a:lnTo>
                    <a:pt x="1107" y="1071"/>
                  </a:lnTo>
                  <a:lnTo>
                    <a:pt x="1054" y="1142"/>
                  </a:lnTo>
                  <a:lnTo>
                    <a:pt x="984" y="1229"/>
                  </a:lnTo>
                  <a:lnTo>
                    <a:pt x="913" y="1300"/>
                  </a:lnTo>
                  <a:lnTo>
                    <a:pt x="896" y="1335"/>
                  </a:lnTo>
                  <a:lnTo>
                    <a:pt x="878" y="1387"/>
                  </a:lnTo>
                  <a:lnTo>
                    <a:pt x="861" y="1440"/>
                  </a:lnTo>
                  <a:lnTo>
                    <a:pt x="826" y="1475"/>
                  </a:lnTo>
                  <a:lnTo>
                    <a:pt x="773" y="1493"/>
                  </a:lnTo>
                  <a:lnTo>
                    <a:pt x="773" y="1528"/>
                  </a:lnTo>
                  <a:lnTo>
                    <a:pt x="773" y="1563"/>
                  </a:lnTo>
                  <a:lnTo>
                    <a:pt x="738" y="1598"/>
                  </a:lnTo>
                  <a:lnTo>
                    <a:pt x="720" y="1598"/>
                  </a:lnTo>
                  <a:lnTo>
                    <a:pt x="703" y="1633"/>
                  </a:lnTo>
                  <a:lnTo>
                    <a:pt x="685" y="1633"/>
                  </a:lnTo>
                  <a:lnTo>
                    <a:pt x="685" y="1616"/>
                  </a:lnTo>
                  <a:lnTo>
                    <a:pt x="685" y="1598"/>
                  </a:lnTo>
                  <a:lnTo>
                    <a:pt x="650" y="1563"/>
                  </a:lnTo>
                  <a:lnTo>
                    <a:pt x="615" y="1563"/>
                  </a:lnTo>
                  <a:lnTo>
                    <a:pt x="597" y="1563"/>
                  </a:lnTo>
                  <a:lnTo>
                    <a:pt x="597" y="1546"/>
                  </a:lnTo>
                  <a:lnTo>
                    <a:pt x="580" y="1510"/>
                  </a:lnTo>
                  <a:lnTo>
                    <a:pt x="562" y="1493"/>
                  </a:lnTo>
                  <a:lnTo>
                    <a:pt x="527" y="1475"/>
                  </a:lnTo>
                  <a:lnTo>
                    <a:pt x="492" y="1458"/>
                  </a:lnTo>
                  <a:lnTo>
                    <a:pt x="474" y="1423"/>
                  </a:lnTo>
                  <a:lnTo>
                    <a:pt x="457" y="1440"/>
                  </a:lnTo>
                  <a:lnTo>
                    <a:pt x="439" y="1423"/>
                  </a:lnTo>
                  <a:lnTo>
                    <a:pt x="404" y="1423"/>
                  </a:lnTo>
                  <a:lnTo>
                    <a:pt x="369" y="1405"/>
                  </a:lnTo>
                  <a:lnTo>
                    <a:pt x="316" y="1370"/>
                  </a:lnTo>
                  <a:lnTo>
                    <a:pt x="263" y="1352"/>
                  </a:lnTo>
                  <a:lnTo>
                    <a:pt x="228" y="1352"/>
                  </a:lnTo>
                  <a:lnTo>
                    <a:pt x="211" y="1335"/>
                  </a:lnTo>
                  <a:lnTo>
                    <a:pt x="193" y="1282"/>
                  </a:lnTo>
                  <a:lnTo>
                    <a:pt x="175" y="1265"/>
                  </a:lnTo>
                  <a:lnTo>
                    <a:pt x="158" y="1247"/>
                  </a:lnTo>
                  <a:lnTo>
                    <a:pt x="140" y="1247"/>
                  </a:lnTo>
                  <a:lnTo>
                    <a:pt x="123" y="1265"/>
                  </a:lnTo>
                  <a:lnTo>
                    <a:pt x="88" y="1317"/>
                  </a:lnTo>
                  <a:lnTo>
                    <a:pt x="70" y="1352"/>
                  </a:lnTo>
                  <a:lnTo>
                    <a:pt x="35" y="1370"/>
                  </a:lnTo>
                  <a:lnTo>
                    <a:pt x="17" y="1370"/>
                  </a:lnTo>
                  <a:lnTo>
                    <a:pt x="17" y="1405"/>
                  </a:lnTo>
                  <a:lnTo>
                    <a:pt x="17" y="1423"/>
                  </a:lnTo>
                  <a:lnTo>
                    <a:pt x="0" y="1458"/>
                  </a:lnTo>
                  <a:lnTo>
                    <a:pt x="17" y="1493"/>
                  </a:lnTo>
                  <a:lnTo>
                    <a:pt x="35" y="1510"/>
                  </a:lnTo>
                  <a:lnTo>
                    <a:pt x="53" y="1528"/>
                  </a:lnTo>
                  <a:lnTo>
                    <a:pt x="263" y="1581"/>
                  </a:lnTo>
                  <a:lnTo>
                    <a:pt x="474" y="1633"/>
                  </a:lnTo>
                  <a:lnTo>
                    <a:pt x="492" y="1633"/>
                  </a:lnTo>
                  <a:lnTo>
                    <a:pt x="509" y="1669"/>
                  </a:lnTo>
                  <a:lnTo>
                    <a:pt x="544" y="1739"/>
                  </a:lnTo>
                  <a:lnTo>
                    <a:pt x="580" y="1791"/>
                  </a:lnTo>
                  <a:lnTo>
                    <a:pt x="615" y="1809"/>
                  </a:lnTo>
                  <a:lnTo>
                    <a:pt x="650" y="1827"/>
                  </a:lnTo>
                  <a:lnTo>
                    <a:pt x="720" y="1809"/>
                  </a:lnTo>
                  <a:lnTo>
                    <a:pt x="755" y="1809"/>
                  </a:lnTo>
                  <a:lnTo>
                    <a:pt x="826" y="1756"/>
                  </a:lnTo>
                  <a:lnTo>
                    <a:pt x="913" y="1721"/>
                  </a:lnTo>
                  <a:lnTo>
                    <a:pt x="966" y="1704"/>
                  </a:lnTo>
                  <a:lnTo>
                    <a:pt x="1019" y="1704"/>
                  </a:lnTo>
                  <a:lnTo>
                    <a:pt x="1071" y="1704"/>
                  </a:lnTo>
                  <a:lnTo>
                    <a:pt x="1124" y="1739"/>
                  </a:lnTo>
                  <a:lnTo>
                    <a:pt x="1159" y="1739"/>
                  </a:lnTo>
                  <a:lnTo>
                    <a:pt x="1194" y="1739"/>
                  </a:lnTo>
                  <a:lnTo>
                    <a:pt x="1212" y="1739"/>
                  </a:lnTo>
                  <a:lnTo>
                    <a:pt x="1230" y="1739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 73"/>
            <p:cNvSpPr>
              <a:spLocks/>
            </p:cNvSpPr>
            <p:nvPr/>
          </p:nvSpPr>
          <p:spPr bwMode="auto">
            <a:xfrm>
              <a:off x="5832891" y="1975939"/>
              <a:ext cx="2215131" cy="2768945"/>
            </a:xfrm>
            <a:custGeom>
              <a:avLst/>
              <a:gdLst>
                <a:gd name="T0" fmla="*/ 3461 w 3654"/>
                <a:gd name="T1" fmla="*/ 2055 h 4567"/>
                <a:gd name="T2" fmla="*/ 3373 w 3654"/>
                <a:gd name="T3" fmla="*/ 1722 h 4567"/>
                <a:gd name="T4" fmla="*/ 3390 w 3654"/>
                <a:gd name="T5" fmla="*/ 1616 h 4567"/>
                <a:gd name="T6" fmla="*/ 3478 w 3654"/>
                <a:gd name="T7" fmla="*/ 1476 h 4567"/>
                <a:gd name="T8" fmla="*/ 3636 w 3654"/>
                <a:gd name="T9" fmla="*/ 1335 h 4567"/>
                <a:gd name="T10" fmla="*/ 3549 w 3654"/>
                <a:gd name="T11" fmla="*/ 1160 h 4567"/>
                <a:gd name="T12" fmla="*/ 3513 w 3654"/>
                <a:gd name="T13" fmla="*/ 1001 h 4567"/>
                <a:gd name="T14" fmla="*/ 3531 w 3654"/>
                <a:gd name="T15" fmla="*/ 879 h 4567"/>
                <a:gd name="T16" fmla="*/ 3636 w 3654"/>
                <a:gd name="T17" fmla="*/ 738 h 4567"/>
                <a:gd name="T18" fmla="*/ 3584 w 3654"/>
                <a:gd name="T19" fmla="*/ 598 h 4567"/>
                <a:gd name="T20" fmla="*/ 3373 w 3654"/>
                <a:gd name="T21" fmla="*/ 492 h 4567"/>
                <a:gd name="T22" fmla="*/ 3373 w 3654"/>
                <a:gd name="T23" fmla="*/ 317 h 4567"/>
                <a:gd name="T24" fmla="*/ 3443 w 3654"/>
                <a:gd name="T25" fmla="*/ 141 h 4567"/>
                <a:gd name="T26" fmla="*/ 3267 w 3654"/>
                <a:gd name="T27" fmla="*/ 106 h 4567"/>
                <a:gd name="T28" fmla="*/ 3092 w 3654"/>
                <a:gd name="T29" fmla="*/ 123 h 4567"/>
                <a:gd name="T30" fmla="*/ 2776 w 3654"/>
                <a:gd name="T31" fmla="*/ 88 h 4567"/>
                <a:gd name="T32" fmla="*/ 2547 w 3654"/>
                <a:gd name="T33" fmla="*/ 457 h 4567"/>
                <a:gd name="T34" fmla="*/ 2319 w 3654"/>
                <a:gd name="T35" fmla="*/ 422 h 4567"/>
                <a:gd name="T36" fmla="*/ 2161 w 3654"/>
                <a:gd name="T37" fmla="*/ 650 h 4567"/>
                <a:gd name="T38" fmla="*/ 2090 w 3654"/>
                <a:gd name="T39" fmla="*/ 580 h 4567"/>
                <a:gd name="T40" fmla="*/ 1985 w 3654"/>
                <a:gd name="T41" fmla="*/ 562 h 4567"/>
                <a:gd name="T42" fmla="*/ 1757 w 3654"/>
                <a:gd name="T43" fmla="*/ 808 h 4567"/>
                <a:gd name="T44" fmla="*/ 1844 w 3654"/>
                <a:gd name="T45" fmla="*/ 949 h 4567"/>
                <a:gd name="T46" fmla="*/ 1792 w 3654"/>
                <a:gd name="T47" fmla="*/ 1054 h 4567"/>
                <a:gd name="T48" fmla="*/ 1563 w 3654"/>
                <a:gd name="T49" fmla="*/ 1247 h 4567"/>
                <a:gd name="T50" fmla="*/ 1511 w 3654"/>
                <a:gd name="T51" fmla="*/ 1458 h 4567"/>
                <a:gd name="T52" fmla="*/ 1247 w 3654"/>
                <a:gd name="T53" fmla="*/ 1247 h 4567"/>
                <a:gd name="T54" fmla="*/ 984 w 3654"/>
                <a:gd name="T55" fmla="*/ 1107 h 4567"/>
                <a:gd name="T56" fmla="*/ 773 w 3654"/>
                <a:gd name="T57" fmla="*/ 1247 h 4567"/>
                <a:gd name="T58" fmla="*/ 544 w 3654"/>
                <a:gd name="T59" fmla="*/ 1441 h 4567"/>
                <a:gd name="T60" fmla="*/ 334 w 3654"/>
                <a:gd name="T61" fmla="*/ 1388 h 4567"/>
                <a:gd name="T62" fmla="*/ 70 w 3654"/>
                <a:gd name="T63" fmla="*/ 1458 h 4567"/>
                <a:gd name="T64" fmla="*/ 140 w 3654"/>
                <a:gd name="T65" fmla="*/ 1722 h 4567"/>
                <a:gd name="T66" fmla="*/ 298 w 3654"/>
                <a:gd name="T67" fmla="*/ 1950 h 4567"/>
                <a:gd name="T68" fmla="*/ 158 w 3654"/>
                <a:gd name="T69" fmla="*/ 2266 h 4567"/>
                <a:gd name="T70" fmla="*/ 88 w 3654"/>
                <a:gd name="T71" fmla="*/ 2371 h 4567"/>
                <a:gd name="T72" fmla="*/ 140 w 3654"/>
                <a:gd name="T73" fmla="*/ 2934 h 4567"/>
                <a:gd name="T74" fmla="*/ 140 w 3654"/>
                <a:gd name="T75" fmla="*/ 3056 h 4567"/>
                <a:gd name="T76" fmla="*/ 211 w 3654"/>
                <a:gd name="T77" fmla="*/ 3355 h 4567"/>
                <a:gd name="T78" fmla="*/ 351 w 3654"/>
                <a:gd name="T79" fmla="*/ 3548 h 4567"/>
                <a:gd name="T80" fmla="*/ 527 w 3654"/>
                <a:gd name="T81" fmla="*/ 3671 h 4567"/>
                <a:gd name="T82" fmla="*/ 685 w 3654"/>
                <a:gd name="T83" fmla="*/ 3882 h 4567"/>
                <a:gd name="T84" fmla="*/ 808 w 3654"/>
                <a:gd name="T85" fmla="*/ 4110 h 4567"/>
                <a:gd name="T86" fmla="*/ 843 w 3654"/>
                <a:gd name="T87" fmla="*/ 4532 h 4567"/>
                <a:gd name="T88" fmla="*/ 1107 w 3654"/>
                <a:gd name="T89" fmla="*/ 4426 h 4567"/>
                <a:gd name="T90" fmla="*/ 1265 w 3654"/>
                <a:gd name="T91" fmla="*/ 4110 h 4567"/>
                <a:gd name="T92" fmla="*/ 1546 w 3654"/>
                <a:gd name="T93" fmla="*/ 4181 h 4567"/>
                <a:gd name="T94" fmla="*/ 1686 w 3654"/>
                <a:gd name="T95" fmla="*/ 4163 h 4567"/>
                <a:gd name="T96" fmla="*/ 1897 w 3654"/>
                <a:gd name="T97" fmla="*/ 4479 h 4567"/>
                <a:gd name="T98" fmla="*/ 2354 w 3654"/>
                <a:gd name="T99" fmla="*/ 4497 h 4567"/>
                <a:gd name="T100" fmla="*/ 2582 w 3654"/>
                <a:gd name="T101" fmla="*/ 4532 h 4567"/>
                <a:gd name="T102" fmla="*/ 2899 w 3654"/>
                <a:gd name="T103" fmla="*/ 4391 h 4567"/>
                <a:gd name="T104" fmla="*/ 3215 w 3654"/>
                <a:gd name="T105" fmla="*/ 4181 h 4567"/>
                <a:gd name="T106" fmla="*/ 3074 w 3654"/>
                <a:gd name="T107" fmla="*/ 3882 h 4567"/>
                <a:gd name="T108" fmla="*/ 2986 w 3654"/>
                <a:gd name="T109" fmla="*/ 3724 h 4567"/>
                <a:gd name="T110" fmla="*/ 3021 w 3654"/>
                <a:gd name="T111" fmla="*/ 3443 h 4567"/>
                <a:gd name="T112" fmla="*/ 3285 w 3654"/>
                <a:gd name="T113" fmla="*/ 3197 h 4567"/>
                <a:gd name="T114" fmla="*/ 3355 w 3654"/>
                <a:gd name="T115" fmla="*/ 3039 h 4567"/>
                <a:gd name="T116" fmla="*/ 3197 w 3654"/>
                <a:gd name="T117" fmla="*/ 2740 h 4567"/>
                <a:gd name="T118" fmla="*/ 3197 w 3654"/>
                <a:gd name="T119" fmla="*/ 2407 h 4567"/>
                <a:gd name="T120" fmla="*/ 3426 w 3654"/>
                <a:gd name="T121" fmla="*/ 2336 h 4567"/>
                <a:gd name="T122" fmla="*/ 3566 w 3654"/>
                <a:gd name="T123" fmla="*/ 2196 h 456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54"/>
                <a:gd name="T187" fmla="*/ 0 h 4567"/>
                <a:gd name="T188" fmla="*/ 3654 w 3654"/>
                <a:gd name="T189" fmla="*/ 4567 h 456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54" h="4567">
                  <a:moveTo>
                    <a:pt x="3531" y="2196"/>
                  </a:moveTo>
                  <a:lnTo>
                    <a:pt x="3531" y="2196"/>
                  </a:lnTo>
                  <a:lnTo>
                    <a:pt x="3513" y="2161"/>
                  </a:lnTo>
                  <a:lnTo>
                    <a:pt x="3496" y="2126"/>
                  </a:lnTo>
                  <a:lnTo>
                    <a:pt x="3496" y="2090"/>
                  </a:lnTo>
                  <a:lnTo>
                    <a:pt x="3478" y="2055"/>
                  </a:lnTo>
                  <a:lnTo>
                    <a:pt x="3461" y="2055"/>
                  </a:lnTo>
                  <a:lnTo>
                    <a:pt x="3443" y="2038"/>
                  </a:lnTo>
                  <a:lnTo>
                    <a:pt x="3426" y="2020"/>
                  </a:lnTo>
                  <a:lnTo>
                    <a:pt x="3355" y="1932"/>
                  </a:lnTo>
                  <a:lnTo>
                    <a:pt x="3338" y="1897"/>
                  </a:lnTo>
                  <a:lnTo>
                    <a:pt x="3320" y="1827"/>
                  </a:lnTo>
                  <a:lnTo>
                    <a:pt x="3355" y="1757"/>
                  </a:lnTo>
                  <a:lnTo>
                    <a:pt x="3373" y="1722"/>
                  </a:lnTo>
                  <a:lnTo>
                    <a:pt x="3390" y="1704"/>
                  </a:lnTo>
                  <a:lnTo>
                    <a:pt x="3426" y="1704"/>
                  </a:lnTo>
                  <a:lnTo>
                    <a:pt x="3443" y="1669"/>
                  </a:lnTo>
                  <a:lnTo>
                    <a:pt x="3426" y="1651"/>
                  </a:lnTo>
                  <a:lnTo>
                    <a:pt x="3408" y="1634"/>
                  </a:lnTo>
                  <a:lnTo>
                    <a:pt x="3390" y="1634"/>
                  </a:lnTo>
                  <a:lnTo>
                    <a:pt x="3390" y="1616"/>
                  </a:lnTo>
                  <a:lnTo>
                    <a:pt x="3390" y="1581"/>
                  </a:lnTo>
                  <a:lnTo>
                    <a:pt x="3408" y="1564"/>
                  </a:lnTo>
                  <a:lnTo>
                    <a:pt x="3443" y="1546"/>
                  </a:lnTo>
                  <a:lnTo>
                    <a:pt x="3461" y="1528"/>
                  </a:lnTo>
                  <a:lnTo>
                    <a:pt x="3461" y="1493"/>
                  </a:lnTo>
                  <a:lnTo>
                    <a:pt x="3478" y="1476"/>
                  </a:lnTo>
                  <a:lnTo>
                    <a:pt x="3513" y="1493"/>
                  </a:lnTo>
                  <a:lnTo>
                    <a:pt x="3531" y="1493"/>
                  </a:lnTo>
                  <a:lnTo>
                    <a:pt x="3566" y="1493"/>
                  </a:lnTo>
                  <a:lnTo>
                    <a:pt x="3566" y="1476"/>
                  </a:lnTo>
                  <a:lnTo>
                    <a:pt x="3584" y="1423"/>
                  </a:lnTo>
                  <a:lnTo>
                    <a:pt x="3601" y="1370"/>
                  </a:lnTo>
                  <a:lnTo>
                    <a:pt x="3619" y="1353"/>
                  </a:lnTo>
                  <a:lnTo>
                    <a:pt x="3636" y="1335"/>
                  </a:lnTo>
                  <a:lnTo>
                    <a:pt x="3619" y="1300"/>
                  </a:lnTo>
                  <a:lnTo>
                    <a:pt x="3601" y="1265"/>
                  </a:lnTo>
                  <a:lnTo>
                    <a:pt x="3584" y="1247"/>
                  </a:lnTo>
                  <a:lnTo>
                    <a:pt x="3549" y="1230"/>
                  </a:lnTo>
                  <a:lnTo>
                    <a:pt x="3549" y="1212"/>
                  </a:lnTo>
                  <a:lnTo>
                    <a:pt x="3549" y="1160"/>
                  </a:lnTo>
                  <a:lnTo>
                    <a:pt x="3531" y="1107"/>
                  </a:lnTo>
                  <a:lnTo>
                    <a:pt x="3513" y="1089"/>
                  </a:lnTo>
                  <a:lnTo>
                    <a:pt x="3496" y="1089"/>
                  </a:lnTo>
                  <a:lnTo>
                    <a:pt x="3478" y="1072"/>
                  </a:lnTo>
                  <a:lnTo>
                    <a:pt x="3478" y="1054"/>
                  </a:lnTo>
                  <a:lnTo>
                    <a:pt x="3478" y="1019"/>
                  </a:lnTo>
                  <a:lnTo>
                    <a:pt x="3513" y="1001"/>
                  </a:lnTo>
                  <a:lnTo>
                    <a:pt x="3496" y="984"/>
                  </a:lnTo>
                  <a:lnTo>
                    <a:pt x="3478" y="984"/>
                  </a:lnTo>
                  <a:lnTo>
                    <a:pt x="3461" y="966"/>
                  </a:lnTo>
                  <a:lnTo>
                    <a:pt x="3461" y="949"/>
                  </a:lnTo>
                  <a:lnTo>
                    <a:pt x="3478" y="914"/>
                  </a:lnTo>
                  <a:lnTo>
                    <a:pt x="3496" y="896"/>
                  </a:lnTo>
                  <a:lnTo>
                    <a:pt x="3531" y="879"/>
                  </a:lnTo>
                  <a:lnTo>
                    <a:pt x="3566" y="843"/>
                  </a:lnTo>
                  <a:lnTo>
                    <a:pt x="3566" y="826"/>
                  </a:lnTo>
                  <a:lnTo>
                    <a:pt x="3566" y="808"/>
                  </a:lnTo>
                  <a:lnTo>
                    <a:pt x="3584" y="808"/>
                  </a:lnTo>
                  <a:lnTo>
                    <a:pt x="3636" y="808"/>
                  </a:lnTo>
                  <a:lnTo>
                    <a:pt x="3636" y="738"/>
                  </a:lnTo>
                  <a:lnTo>
                    <a:pt x="3654" y="720"/>
                  </a:lnTo>
                  <a:lnTo>
                    <a:pt x="3654" y="685"/>
                  </a:lnTo>
                  <a:lnTo>
                    <a:pt x="3654" y="668"/>
                  </a:lnTo>
                  <a:lnTo>
                    <a:pt x="3619" y="633"/>
                  </a:lnTo>
                  <a:lnTo>
                    <a:pt x="3601" y="615"/>
                  </a:lnTo>
                  <a:lnTo>
                    <a:pt x="3584" y="598"/>
                  </a:lnTo>
                  <a:lnTo>
                    <a:pt x="3566" y="562"/>
                  </a:lnTo>
                  <a:lnTo>
                    <a:pt x="3531" y="545"/>
                  </a:lnTo>
                  <a:lnTo>
                    <a:pt x="3461" y="562"/>
                  </a:lnTo>
                  <a:lnTo>
                    <a:pt x="3408" y="545"/>
                  </a:lnTo>
                  <a:lnTo>
                    <a:pt x="3373" y="527"/>
                  </a:lnTo>
                  <a:lnTo>
                    <a:pt x="3373" y="492"/>
                  </a:lnTo>
                  <a:lnTo>
                    <a:pt x="3373" y="475"/>
                  </a:lnTo>
                  <a:lnTo>
                    <a:pt x="3338" y="475"/>
                  </a:lnTo>
                  <a:lnTo>
                    <a:pt x="3320" y="457"/>
                  </a:lnTo>
                  <a:lnTo>
                    <a:pt x="3320" y="439"/>
                  </a:lnTo>
                  <a:lnTo>
                    <a:pt x="3320" y="387"/>
                  </a:lnTo>
                  <a:lnTo>
                    <a:pt x="3355" y="352"/>
                  </a:lnTo>
                  <a:lnTo>
                    <a:pt x="3373" y="317"/>
                  </a:lnTo>
                  <a:lnTo>
                    <a:pt x="3408" y="264"/>
                  </a:lnTo>
                  <a:lnTo>
                    <a:pt x="3390" y="246"/>
                  </a:lnTo>
                  <a:lnTo>
                    <a:pt x="3408" y="211"/>
                  </a:lnTo>
                  <a:lnTo>
                    <a:pt x="3426" y="194"/>
                  </a:lnTo>
                  <a:lnTo>
                    <a:pt x="3426" y="176"/>
                  </a:lnTo>
                  <a:lnTo>
                    <a:pt x="3443" y="141"/>
                  </a:lnTo>
                  <a:lnTo>
                    <a:pt x="3408" y="88"/>
                  </a:lnTo>
                  <a:lnTo>
                    <a:pt x="3373" y="53"/>
                  </a:lnTo>
                  <a:lnTo>
                    <a:pt x="3303" y="18"/>
                  </a:lnTo>
                  <a:lnTo>
                    <a:pt x="3250" y="18"/>
                  </a:lnTo>
                  <a:lnTo>
                    <a:pt x="3250" y="0"/>
                  </a:lnTo>
                  <a:lnTo>
                    <a:pt x="3215" y="0"/>
                  </a:lnTo>
                  <a:lnTo>
                    <a:pt x="3267" y="106"/>
                  </a:lnTo>
                  <a:lnTo>
                    <a:pt x="3320" y="158"/>
                  </a:lnTo>
                  <a:lnTo>
                    <a:pt x="3338" y="194"/>
                  </a:lnTo>
                  <a:lnTo>
                    <a:pt x="3320" y="194"/>
                  </a:lnTo>
                  <a:lnTo>
                    <a:pt x="3267" y="158"/>
                  </a:lnTo>
                  <a:lnTo>
                    <a:pt x="3180" y="106"/>
                  </a:lnTo>
                  <a:lnTo>
                    <a:pt x="3127" y="106"/>
                  </a:lnTo>
                  <a:lnTo>
                    <a:pt x="3092" y="123"/>
                  </a:lnTo>
                  <a:lnTo>
                    <a:pt x="3074" y="141"/>
                  </a:lnTo>
                  <a:lnTo>
                    <a:pt x="3057" y="123"/>
                  </a:lnTo>
                  <a:lnTo>
                    <a:pt x="3004" y="88"/>
                  </a:lnTo>
                  <a:lnTo>
                    <a:pt x="2969" y="71"/>
                  </a:lnTo>
                  <a:lnTo>
                    <a:pt x="2916" y="53"/>
                  </a:lnTo>
                  <a:lnTo>
                    <a:pt x="2863" y="53"/>
                  </a:lnTo>
                  <a:lnTo>
                    <a:pt x="2828" y="71"/>
                  </a:lnTo>
                  <a:lnTo>
                    <a:pt x="2776" y="88"/>
                  </a:lnTo>
                  <a:lnTo>
                    <a:pt x="2740" y="123"/>
                  </a:lnTo>
                  <a:lnTo>
                    <a:pt x="2688" y="211"/>
                  </a:lnTo>
                  <a:lnTo>
                    <a:pt x="2670" y="264"/>
                  </a:lnTo>
                  <a:lnTo>
                    <a:pt x="2670" y="317"/>
                  </a:lnTo>
                  <a:lnTo>
                    <a:pt x="2635" y="404"/>
                  </a:lnTo>
                  <a:lnTo>
                    <a:pt x="2617" y="422"/>
                  </a:lnTo>
                  <a:lnTo>
                    <a:pt x="2582" y="439"/>
                  </a:lnTo>
                  <a:lnTo>
                    <a:pt x="2547" y="457"/>
                  </a:lnTo>
                  <a:lnTo>
                    <a:pt x="2494" y="439"/>
                  </a:lnTo>
                  <a:lnTo>
                    <a:pt x="2407" y="457"/>
                  </a:lnTo>
                  <a:lnTo>
                    <a:pt x="2354" y="492"/>
                  </a:lnTo>
                  <a:lnTo>
                    <a:pt x="2319" y="510"/>
                  </a:lnTo>
                  <a:lnTo>
                    <a:pt x="2319" y="492"/>
                  </a:lnTo>
                  <a:lnTo>
                    <a:pt x="2319" y="457"/>
                  </a:lnTo>
                  <a:lnTo>
                    <a:pt x="2319" y="422"/>
                  </a:lnTo>
                  <a:lnTo>
                    <a:pt x="2301" y="404"/>
                  </a:lnTo>
                  <a:lnTo>
                    <a:pt x="2284" y="404"/>
                  </a:lnTo>
                  <a:lnTo>
                    <a:pt x="2196" y="439"/>
                  </a:lnTo>
                  <a:lnTo>
                    <a:pt x="2161" y="457"/>
                  </a:lnTo>
                  <a:lnTo>
                    <a:pt x="2143" y="492"/>
                  </a:lnTo>
                  <a:lnTo>
                    <a:pt x="2126" y="527"/>
                  </a:lnTo>
                  <a:lnTo>
                    <a:pt x="2143" y="580"/>
                  </a:lnTo>
                  <a:lnTo>
                    <a:pt x="2161" y="650"/>
                  </a:lnTo>
                  <a:lnTo>
                    <a:pt x="2143" y="685"/>
                  </a:lnTo>
                  <a:lnTo>
                    <a:pt x="2143" y="703"/>
                  </a:lnTo>
                  <a:lnTo>
                    <a:pt x="2126" y="685"/>
                  </a:lnTo>
                  <a:lnTo>
                    <a:pt x="2126" y="633"/>
                  </a:lnTo>
                  <a:lnTo>
                    <a:pt x="2108" y="598"/>
                  </a:lnTo>
                  <a:lnTo>
                    <a:pt x="2108" y="580"/>
                  </a:lnTo>
                  <a:lnTo>
                    <a:pt x="2090" y="580"/>
                  </a:lnTo>
                  <a:lnTo>
                    <a:pt x="2020" y="633"/>
                  </a:lnTo>
                  <a:lnTo>
                    <a:pt x="2020" y="615"/>
                  </a:lnTo>
                  <a:lnTo>
                    <a:pt x="2038" y="598"/>
                  </a:lnTo>
                  <a:lnTo>
                    <a:pt x="2055" y="562"/>
                  </a:lnTo>
                  <a:lnTo>
                    <a:pt x="2055" y="527"/>
                  </a:lnTo>
                  <a:lnTo>
                    <a:pt x="1985" y="562"/>
                  </a:lnTo>
                  <a:lnTo>
                    <a:pt x="1915" y="633"/>
                  </a:lnTo>
                  <a:lnTo>
                    <a:pt x="1827" y="668"/>
                  </a:lnTo>
                  <a:lnTo>
                    <a:pt x="1792" y="685"/>
                  </a:lnTo>
                  <a:lnTo>
                    <a:pt x="1739" y="685"/>
                  </a:lnTo>
                  <a:lnTo>
                    <a:pt x="1792" y="738"/>
                  </a:lnTo>
                  <a:lnTo>
                    <a:pt x="1792" y="756"/>
                  </a:lnTo>
                  <a:lnTo>
                    <a:pt x="1792" y="773"/>
                  </a:lnTo>
                  <a:lnTo>
                    <a:pt x="1757" y="808"/>
                  </a:lnTo>
                  <a:lnTo>
                    <a:pt x="1739" y="843"/>
                  </a:lnTo>
                  <a:lnTo>
                    <a:pt x="1721" y="896"/>
                  </a:lnTo>
                  <a:lnTo>
                    <a:pt x="1757" y="896"/>
                  </a:lnTo>
                  <a:lnTo>
                    <a:pt x="1774" y="879"/>
                  </a:lnTo>
                  <a:lnTo>
                    <a:pt x="1809" y="861"/>
                  </a:lnTo>
                  <a:lnTo>
                    <a:pt x="1809" y="843"/>
                  </a:lnTo>
                  <a:lnTo>
                    <a:pt x="1809" y="861"/>
                  </a:lnTo>
                  <a:lnTo>
                    <a:pt x="1844" y="949"/>
                  </a:lnTo>
                  <a:lnTo>
                    <a:pt x="1897" y="984"/>
                  </a:lnTo>
                  <a:lnTo>
                    <a:pt x="1915" y="1001"/>
                  </a:lnTo>
                  <a:lnTo>
                    <a:pt x="1897" y="1001"/>
                  </a:lnTo>
                  <a:lnTo>
                    <a:pt x="1862" y="1019"/>
                  </a:lnTo>
                  <a:lnTo>
                    <a:pt x="1809" y="1001"/>
                  </a:lnTo>
                  <a:lnTo>
                    <a:pt x="1792" y="1037"/>
                  </a:lnTo>
                  <a:lnTo>
                    <a:pt x="1792" y="1054"/>
                  </a:lnTo>
                  <a:lnTo>
                    <a:pt x="1827" y="1107"/>
                  </a:lnTo>
                  <a:lnTo>
                    <a:pt x="1827" y="1124"/>
                  </a:lnTo>
                  <a:lnTo>
                    <a:pt x="1774" y="1124"/>
                  </a:lnTo>
                  <a:lnTo>
                    <a:pt x="1686" y="1124"/>
                  </a:lnTo>
                  <a:lnTo>
                    <a:pt x="1669" y="1124"/>
                  </a:lnTo>
                  <a:lnTo>
                    <a:pt x="1598" y="1230"/>
                  </a:lnTo>
                  <a:lnTo>
                    <a:pt x="1563" y="1247"/>
                  </a:lnTo>
                  <a:lnTo>
                    <a:pt x="1546" y="1247"/>
                  </a:lnTo>
                  <a:lnTo>
                    <a:pt x="1511" y="1230"/>
                  </a:lnTo>
                  <a:lnTo>
                    <a:pt x="1475" y="1212"/>
                  </a:lnTo>
                  <a:lnTo>
                    <a:pt x="1458" y="1247"/>
                  </a:lnTo>
                  <a:lnTo>
                    <a:pt x="1475" y="1318"/>
                  </a:lnTo>
                  <a:lnTo>
                    <a:pt x="1511" y="1388"/>
                  </a:lnTo>
                  <a:lnTo>
                    <a:pt x="1511" y="1423"/>
                  </a:lnTo>
                  <a:lnTo>
                    <a:pt x="1511" y="1458"/>
                  </a:lnTo>
                  <a:lnTo>
                    <a:pt x="1493" y="1476"/>
                  </a:lnTo>
                  <a:lnTo>
                    <a:pt x="1440" y="1476"/>
                  </a:lnTo>
                  <a:lnTo>
                    <a:pt x="1370" y="1441"/>
                  </a:lnTo>
                  <a:lnTo>
                    <a:pt x="1317" y="1405"/>
                  </a:lnTo>
                  <a:lnTo>
                    <a:pt x="1282" y="1353"/>
                  </a:lnTo>
                  <a:lnTo>
                    <a:pt x="1265" y="1265"/>
                  </a:lnTo>
                  <a:lnTo>
                    <a:pt x="1247" y="1247"/>
                  </a:lnTo>
                  <a:lnTo>
                    <a:pt x="1212" y="1247"/>
                  </a:lnTo>
                  <a:lnTo>
                    <a:pt x="1194" y="1230"/>
                  </a:lnTo>
                  <a:lnTo>
                    <a:pt x="1177" y="1195"/>
                  </a:lnTo>
                  <a:lnTo>
                    <a:pt x="1159" y="1160"/>
                  </a:lnTo>
                  <a:lnTo>
                    <a:pt x="1142" y="1124"/>
                  </a:lnTo>
                  <a:lnTo>
                    <a:pt x="1089" y="1107"/>
                  </a:lnTo>
                  <a:lnTo>
                    <a:pt x="984" y="1107"/>
                  </a:lnTo>
                  <a:lnTo>
                    <a:pt x="984" y="1142"/>
                  </a:lnTo>
                  <a:lnTo>
                    <a:pt x="948" y="1160"/>
                  </a:lnTo>
                  <a:lnTo>
                    <a:pt x="896" y="1160"/>
                  </a:lnTo>
                  <a:lnTo>
                    <a:pt x="808" y="1160"/>
                  </a:lnTo>
                  <a:lnTo>
                    <a:pt x="790" y="1160"/>
                  </a:lnTo>
                  <a:lnTo>
                    <a:pt x="755" y="1177"/>
                  </a:lnTo>
                  <a:lnTo>
                    <a:pt x="755" y="1212"/>
                  </a:lnTo>
                  <a:lnTo>
                    <a:pt x="773" y="1247"/>
                  </a:lnTo>
                  <a:lnTo>
                    <a:pt x="808" y="1300"/>
                  </a:lnTo>
                  <a:lnTo>
                    <a:pt x="825" y="1335"/>
                  </a:lnTo>
                  <a:lnTo>
                    <a:pt x="808" y="1353"/>
                  </a:lnTo>
                  <a:lnTo>
                    <a:pt x="773" y="1388"/>
                  </a:lnTo>
                  <a:lnTo>
                    <a:pt x="632" y="1423"/>
                  </a:lnTo>
                  <a:lnTo>
                    <a:pt x="580" y="1441"/>
                  </a:lnTo>
                  <a:lnTo>
                    <a:pt x="544" y="1441"/>
                  </a:lnTo>
                  <a:lnTo>
                    <a:pt x="527" y="1423"/>
                  </a:lnTo>
                  <a:lnTo>
                    <a:pt x="527" y="1405"/>
                  </a:lnTo>
                  <a:lnTo>
                    <a:pt x="509" y="1353"/>
                  </a:lnTo>
                  <a:lnTo>
                    <a:pt x="492" y="1353"/>
                  </a:lnTo>
                  <a:lnTo>
                    <a:pt x="334" y="1388"/>
                  </a:lnTo>
                  <a:lnTo>
                    <a:pt x="263" y="1423"/>
                  </a:lnTo>
                  <a:lnTo>
                    <a:pt x="228" y="1441"/>
                  </a:lnTo>
                  <a:lnTo>
                    <a:pt x="211" y="1441"/>
                  </a:lnTo>
                  <a:lnTo>
                    <a:pt x="193" y="1405"/>
                  </a:lnTo>
                  <a:lnTo>
                    <a:pt x="175" y="1423"/>
                  </a:lnTo>
                  <a:lnTo>
                    <a:pt x="140" y="1441"/>
                  </a:lnTo>
                  <a:lnTo>
                    <a:pt x="70" y="1458"/>
                  </a:lnTo>
                  <a:lnTo>
                    <a:pt x="70" y="1511"/>
                  </a:lnTo>
                  <a:lnTo>
                    <a:pt x="35" y="1581"/>
                  </a:lnTo>
                  <a:lnTo>
                    <a:pt x="70" y="1599"/>
                  </a:lnTo>
                  <a:lnTo>
                    <a:pt x="88" y="1616"/>
                  </a:lnTo>
                  <a:lnTo>
                    <a:pt x="105" y="1686"/>
                  </a:lnTo>
                  <a:lnTo>
                    <a:pt x="140" y="1722"/>
                  </a:lnTo>
                  <a:lnTo>
                    <a:pt x="158" y="1739"/>
                  </a:lnTo>
                  <a:lnTo>
                    <a:pt x="228" y="1809"/>
                  </a:lnTo>
                  <a:lnTo>
                    <a:pt x="246" y="1827"/>
                  </a:lnTo>
                  <a:lnTo>
                    <a:pt x="246" y="1862"/>
                  </a:lnTo>
                  <a:lnTo>
                    <a:pt x="246" y="1897"/>
                  </a:lnTo>
                  <a:lnTo>
                    <a:pt x="263" y="1932"/>
                  </a:lnTo>
                  <a:lnTo>
                    <a:pt x="298" y="1950"/>
                  </a:lnTo>
                  <a:lnTo>
                    <a:pt x="316" y="1968"/>
                  </a:lnTo>
                  <a:lnTo>
                    <a:pt x="316" y="2003"/>
                  </a:lnTo>
                  <a:lnTo>
                    <a:pt x="316" y="2020"/>
                  </a:lnTo>
                  <a:lnTo>
                    <a:pt x="281" y="2055"/>
                  </a:lnTo>
                  <a:lnTo>
                    <a:pt x="246" y="2073"/>
                  </a:lnTo>
                  <a:lnTo>
                    <a:pt x="158" y="2266"/>
                  </a:lnTo>
                  <a:lnTo>
                    <a:pt x="175" y="2284"/>
                  </a:lnTo>
                  <a:lnTo>
                    <a:pt x="193" y="2319"/>
                  </a:lnTo>
                  <a:lnTo>
                    <a:pt x="175" y="2354"/>
                  </a:lnTo>
                  <a:lnTo>
                    <a:pt x="158" y="2354"/>
                  </a:lnTo>
                  <a:lnTo>
                    <a:pt x="105" y="2354"/>
                  </a:lnTo>
                  <a:lnTo>
                    <a:pt x="88" y="2371"/>
                  </a:lnTo>
                  <a:lnTo>
                    <a:pt x="52" y="2407"/>
                  </a:lnTo>
                  <a:lnTo>
                    <a:pt x="35" y="2442"/>
                  </a:lnTo>
                  <a:lnTo>
                    <a:pt x="0" y="2477"/>
                  </a:lnTo>
                  <a:lnTo>
                    <a:pt x="52" y="2582"/>
                  </a:lnTo>
                  <a:lnTo>
                    <a:pt x="105" y="2688"/>
                  </a:lnTo>
                  <a:lnTo>
                    <a:pt x="123" y="2793"/>
                  </a:lnTo>
                  <a:lnTo>
                    <a:pt x="140" y="2934"/>
                  </a:lnTo>
                  <a:lnTo>
                    <a:pt x="123" y="2951"/>
                  </a:lnTo>
                  <a:lnTo>
                    <a:pt x="105" y="2969"/>
                  </a:lnTo>
                  <a:lnTo>
                    <a:pt x="88" y="2986"/>
                  </a:lnTo>
                  <a:lnTo>
                    <a:pt x="70" y="3021"/>
                  </a:lnTo>
                  <a:lnTo>
                    <a:pt x="123" y="3039"/>
                  </a:lnTo>
                  <a:lnTo>
                    <a:pt x="140" y="3039"/>
                  </a:lnTo>
                  <a:lnTo>
                    <a:pt x="140" y="3056"/>
                  </a:lnTo>
                  <a:lnTo>
                    <a:pt x="140" y="3109"/>
                  </a:lnTo>
                  <a:lnTo>
                    <a:pt x="140" y="3144"/>
                  </a:lnTo>
                  <a:lnTo>
                    <a:pt x="158" y="3197"/>
                  </a:lnTo>
                  <a:lnTo>
                    <a:pt x="193" y="3232"/>
                  </a:lnTo>
                  <a:lnTo>
                    <a:pt x="228" y="3267"/>
                  </a:lnTo>
                  <a:lnTo>
                    <a:pt x="246" y="3320"/>
                  </a:lnTo>
                  <a:lnTo>
                    <a:pt x="211" y="3355"/>
                  </a:lnTo>
                  <a:lnTo>
                    <a:pt x="193" y="3373"/>
                  </a:lnTo>
                  <a:lnTo>
                    <a:pt x="193" y="3408"/>
                  </a:lnTo>
                  <a:lnTo>
                    <a:pt x="193" y="3531"/>
                  </a:lnTo>
                  <a:lnTo>
                    <a:pt x="246" y="3531"/>
                  </a:lnTo>
                  <a:lnTo>
                    <a:pt x="281" y="3531"/>
                  </a:lnTo>
                  <a:lnTo>
                    <a:pt x="351" y="3548"/>
                  </a:lnTo>
                  <a:lnTo>
                    <a:pt x="421" y="3548"/>
                  </a:lnTo>
                  <a:lnTo>
                    <a:pt x="457" y="3548"/>
                  </a:lnTo>
                  <a:lnTo>
                    <a:pt x="474" y="3583"/>
                  </a:lnTo>
                  <a:lnTo>
                    <a:pt x="457" y="3619"/>
                  </a:lnTo>
                  <a:lnTo>
                    <a:pt x="457" y="3636"/>
                  </a:lnTo>
                  <a:lnTo>
                    <a:pt x="527" y="3671"/>
                  </a:lnTo>
                  <a:lnTo>
                    <a:pt x="562" y="3689"/>
                  </a:lnTo>
                  <a:lnTo>
                    <a:pt x="580" y="3724"/>
                  </a:lnTo>
                  <a:lnTo>
                    <a:pt x="597" y="3777"/>
                  </a:lnTo>
                  <a:lnTo>
                    <a:pt x="615" y="3847"/>
                  </a:lnTo>
                  <a:lnTo>
                    <a:pt x="632" y="3864"/>
                  </a:lnTo>
                  <a:lnTo>
                    <a:pt x="650" y="3864"/>
                  </a:lnTo>
                  <a:lnTo>
                    <a:pt x="685" y="3882"/>
                  </a:lnTo>
                  <a:lnTo>
                    <a:pt x="685" y="3900"/>
                  </a:lnTo>
                  <a:lnTo>
                    <a:pt x="685" y="3970"/>
                  </a:lnTo>
                  <a:lnTo>
                    <a:pt x="703" y="4005"/>
                  </a:lnTo>
                  <a:lnTo>
                    <a:pt x="720" y="4058"/>
                  </a:lnTo>
                  <a:lnTo>
                    <a:pt x="755" y="4075"/>
                  </a:lnTo>
                  <a:lnTo>
                    <a:pt x="808" y="4110"/>
                  </a:lnTo>
                  <a:lnTo>
                    <a:pt x="790" y="4163"/>
                  </a:lnTo>
                  <a:lnTo>
                    <a:pt x="790" y="4216"/>
                  </a:lnTo>
                  <a:lnTo>
                    <a:pt x="790" y="4462"/>
                  </a:lnTo>
                  <a:lnTo>
                    <a:pt x="790" y="4514"/>
                  </a:lnTo>
                  <a:lnTo>
                    <a:pt x="808" y="4532"/>
                  </a:lnTo>
                  <a:lnTo>
                    <a:pt x="843" y="4532"/>
                  </a:lnTo>
                  <a:lnTo>
                    <a:pt x="878" y="4532"/>
                  </a:lnTo>
                  <a:lnTo>
                    <a:pt x="913" y="4514"/>
                  </a:lnTo>
                  <a:lnTo>
                    <a:pt x="966" y="4462"/>
                  </a:lnTo>
                  <a:lnTo>
                    <a:pt x="1019" y="4409"/>
                  </a:lnTo>
                  <a:lnTo>
                    <a:pt x="1036" y="4391"/>
                  </a:lnTo>
                  <a:lnTo>
                    <a:pt x="1071" y="4391"/>
                  </a:lnTo>
                  <a:lnTo>
                    <a:pt x="1089" y="4409"/>
                  </a:lnTo>
                  <a:lnTo>
                    <a:pt x="1107" y="4426"/>
                  </a:lnTo>
                  <a:lnTo>
                    <a:pt x="1124" y="4444"/>
                  </a:lnTo>
                  <a:lnTo>
                    <a:pt x="1142" y="4444"/>
                  </a:lnTo>
                  <a:lnTo>
                    <a:pt x="1159" y="4409"/>
                  </a:lnTo>
                  <a:lnTo>
                    <a:pt x="1194" y="4356"/>
                  </a:lnTo>
                  <a:lnTo>
                    <a:pt x="1230" y="4321"/>
                  </a:lnTo>
                  <a:lnTo>
                    <a:pt x="1247" y="4268"/>
                  </a:lnTo>
                  <a:lnTo>
                    <a:pt x="1265" y="4110"/>
                  </a:lnTo>
                  <a:lnTo>
                    <a:pt x="1282" y="4075"/>
                  </a:lnTo>
                  <a:lnTo>
                    <a:pt x="1317" y="4058"/>
                  </a:lnTo>
                  <a:lnTo>
                    <a:pt x="1388" y="4058"/>
                  </a:lnTo>
                  <a:lnTo>
                    <a:pt x="1423" y="4058"/>
                  </a:lnTo>
                  <a:lnTo>
                    <a:pt x="1458" y="4075"/>
                  </a:lnTo>
                  <a:lnTo>
                    <a:pt x="1493" y="4110"/>
                  </a:lnTo>
                  <a:lnTo>
                    <a:pt x="1528" y="4163"/>
                  </a:lnTo>
                  <a:lnTo>
                    <a:pt x="1546" y="4181"/>
                  </a:lnTo>
                  <a:lnTo>
                    <a:pt x="1581" y="4181"/>
                  </a:lnTo>
                  <a:lnTo>
                    <a:pt x="1598" y="4181"/>
                  </a:lnTo>
                  <a:lnTo>
                    <a:pt x="1616" y="4145"/>
                  </a:lnTo>
                  <a:lnTo>
                    <a:pt x="1669" y="4145"/>
                  </a:lnTo>
                  <a:lnTo>
                    <a:pt x="1686" y="4163"/>
                  </a:lnTo>
                  <a:lnTo>
                    <a:pt x="1704" y="4181"/>
                  </a:lnTo>
                  <a:lnTo>
                    <a:pt x="1721" y="4233"/>
                  </a:lnTo>
                  <a:lnTo>
                    <a:pt x="1739" y="4268"/>
                  </a:lnTo>
                  <a:lnTo>
                    <a:pt x="1757" y="4286"/>
                  </a:lnTo>
                  <a:lnTo>
                    <a:pt x="1827" y="4339"/>
                  </a:lnTo>
                  <a:lnTo>
                    <a:pt x="1862" y="4391"/>
                  </a:lnTo>
                  <a:lnTo>
                    <a:pt x="1897" y="4479"/>
                  </a:lnTo>
                  <a:lnTo>
                    <a:pt x="1950" y="4532"/>
                  </a:lnTo>
                  <a:lnTo>
                    <a:pt x="1985" y="4549"/>
                  </a:lnTo>
                  <a:lnTo>
                    <a:pt x="2038" y="4567"/>
                  </a:lnTo>
                  <a:lnTo>
                    <a:pt x="2090" y="4514"/>
                  </a:lnTo>
                  <a:lnTo>
                    <a:pt x="2108" y="4497"/>
                  </a:lnTo>
                  <a:lnTo>
                    <a:pt x="2143" y="4497"/>
                  </a:lnTo>
                  <a:lnTo>
                    <a:pt x="2354" y="4497"/>
                  </a:lnTo>
                  <a:lnTo>
                    <a:pt x="2407" y="4479"/>
                  </a:lnTo>
                  <a:lnTo>
                    <a:pt x="2459" y="4462"/>
                  </a:lnTo>
                  <a:lnTo>
                    <a:pt x="2494" y="4479"/>
                  </a:lnTo>
                  <a:lnTo>
                    <a:pt x="2512" y="4497"/>
                  </a:lnTo>
                  <a:lnTo>
                    <a:pt x="2547" y="4514"/>
                  </a:lnTo>
                  <a:lnTo>
                    <a:pt x="2582" y="4532"/>
                  </a:lnTo>
                  <a:lnTo>
                    <a:pt x="2635" y="4514"/>
                  </a:lnTo>
                  <a:lnTo>
                    <a:pt x="2670" y="4497"/>
                  </a:lnTo>
                  <a:lnTo>
                    <a:pt x="2705" y="4479"/>
                  </a:lnTo>
                  <a:lnTo>
                    <a:pt x="2758" y="4479"/>
                  </a:lnTo>
                  <a:lnTo>
                    <a:pt x="2811" y="4462"/>
                  </a:lnTo>
                  <a:lnTo>
                    <a:pt x="2846" y="4444"/>
                  </a:lnTo>
                  <a:lnTo>
                    <a:pt x="2899" y="4391"/>
                  </a:lnTo>
                  <a:lnTo>
                    <a:pt x="2934" y="4374"/>
                  </a:lnTo>
                  <a:lnTo>
                    <a:pt x="2951" y="4374"/>
                  </a:lnTo>
                  <a:lnTo>
                    <a:pt x="2986" y="4356"/>
                  </a:lnTo>
                  <a:lnTo>
                    <a:pt x="3021" y="4356"/>
                  </a:lnTo>
                  <a:lnTo>
                    <a:pt x="3074" y="4304"/>
                  </a:lnTo>
                  <a:lnTo>
                    <a:pt x="3109" y="4251"/>
                  </a:lnTo>
                  <a:lnTo>
                    <a:pt x="3162" y="4216"/>
                  </a:lnTo>
                  <a:lnTo>
                    <a:pt x="3215" y="4181"/>
                  </a:lnTo>
                  <a:lnTo>
                    <a:pt x="3197" y="3970"/>
                  </a:lnTo>
                  <a:lnTo>
                    <a:pt x="3197" y="3952"/>
                  </a:lnTo>
                  <a:lnTo>
                    <a:pt x="3180" y="3935"/>
                  </a:lnTo>
                  <a:lnTo>
                    <a:pt x="3144" y="3917"/>
                  </a:lnTo>
                  <a:lnTo>
                    <a:pt x="3092" y="3900"/>
                  </a:lnTo>
                  <a:lnTo>
                    <a:pt x="3074" y="3900"/>
                  </a:lnTo>
                  <a:lnTo>
                    <a:pt x="3074" y="3882"/>
                  </a:lnTo>
                  <a:lnTo>
                    <a:pt x="3092" y="3864"/>
                  </a:lnTo>
                  <a:lnTo>
                    <a:pt x="3109" y="3829"/>
                  </a:lnTo>
                  <a:lnTo>
                    <a:pt x="3109" y="3759"/>
                  </a:lnTo>
                  <a:lnTo>
                    <a:pt x="3039" y="3741"/>
                  </a:lnTo>
                  <a:lnTo>
                    <a:pt x="2986" y="3724"/>
                  </a:lnTo>
                  <a:lnTo>
                    <a:pt x="3021" y="3689"/>
                  </a:lnTo>
                  <a:lnTo>
                    <a:pt x="3039" y="3671"/>
                  </a:lnTo>
                  <a:lnTo>
                    <a:pt x="3039" y="3654"/>
                  </a:lnTo>
                  <a:lnTo>
                    <a:pt x="3039" y="3583"/>
                  </a:lnTo>
                  <a:lnTo>
                    <a:pt x="3021" y="3513"/>
                  </a:lnTo>
                  <a:lnTo>
                    <a:pt x="3021" y="3443"/>
                  </a:lnTo>
                  <a:lnTo>
                    <a:pt x="3039" y="3408"/>
                  </a:lnTo>
                  <a:lnTo>
                    <a:pt x="3109" y="3373"/>
                  </a:lnTo>
                  <a:lnTo>
                    <a:pt x="3162" y="3338"/>
                  </a:lnTo>
                  <a:lnTo>
                    <a:pt x="3180" y="3302"/>
                  </a:lnTo>
                  <a:lnTo>
                    <a:pt x="3180" y="3250"/>
                  </a:lnTo>
                  <a:lnTo>
                    <a:pt x="3197" y="3215"/>
                  </a:lnTo>
                  <a:lnTo>
                    <a:pt x="3215" y="3215"/>
                  </a:lnTo>
                  <a:lnTo>
                    <a:pt x="3285" y="3197"/>
                  </a:lnTo>
                  <a:lnTo>
                    <a:pt x="3303" y="3179"/>
                  </a:lnTo>
                  <a:lnTo>
                    <a:pt x="3320" y="3144"/>
                  </a:lnTo>
                  <a:lnTo>
                    <a:pt x="3320" y="3074"/>
                  </a:lnTo>
                  <a:lnTo>
                    <a:pt x="3320" y="3056"/>
                  </a:lnTo>
                  <a:lnTo>
                    <a:pt x="3338" y="3056"/>
                  </a:lnTo>
                  <a:lnTo>
                    <a:pt x="3355" y="3039"/>
                  </a:lnTo>
                  <a:lnTo>
                    <a:pt x="3355" y="2986"/>
                  </a:lnTo>
                  <a:lnTo>
                    <a:pt x="3338" y="2951"/>
                  </a:lnTo>
                  <a:lnTo>
                    <a:pt x="3285" y="2898"/>
                  </a:lnTo>
                  <a:lnTo>
                    <a:pt x="3215" y="2846"/>
                  </a:lnTo>
                  <a:lnTo>
                    <a:pt x="3197" y="2811"/>
                  </a:lnTo>
                  <a:lnTo>
                    <a:pt x="3197" y="2775"/>
                  </a:lnTo>
                  <a:lnTo>
                    <a:pt x="3197" y="2740"/>
                  </a:lnTo>
                  <a:lnTo>
                    <a:pt x="3215" y="2688"/>
                  </a:lnTo>
                  <a:lnTo>
                    <a:pt x="3232" y="2635"/>
                  </a:lnTo>
                  <a:lnTo>
                    <a:pt x="3215" y="2582"/>
                  </a:lnTo>
                  <a:lnTo>
                    <a:pt x="3197" y="2530"/>
                  </a:lnTo>
                  <a:lnTo>
                    <a:pt x="3180" y="2442"/>
                  </a:lnTo>
                  <a:lnTo>
                    <a:pt x="3180" y="2407"/>
                  </a:lnTo>
                  <a:lnTo>
                    <a:pt x="3197" y="2407"/>
                  </a:lnTo>
                  <a:lnTo>
                    <a:pt x="3250" y="2389"/>
                  </a:lnTo>
                  <a:lnTo>
                    <a:pt x="3320" y="2389"/>
                  </a:lnTo>
                  <a:lnTo>
                    <a:pt x="3338" y="2407"/>
                  </a:lnTo>
                  <a:lnTo>
                    <a:pt x="3390" y="2389"/>
                  </a:lnTo>
                  <a:lnTo>
                    <a:pt x="3408" y="2371"/>
                  </a:lnTo>
                  <a:lnTo>
                    <a:pt x="3426" y="2336"/>
                  </a:lnTo>
                  <a:lnTo>
                    <a:pt x="3461" y="2301"/>
                  </a:lnTo>
                  <a:lnTo>
                    <a:pt x="3496" y="2284"/>
                  </a:lnTo>
                  <a:lnTo>
                    <a:pt x="3531" y="2301"/>
                  </a:lnTo>
                  <a:lnTo>
                    <a:pt x="3549" y="2284"/>
                  </a:lnTo>
                  <a:lnTo>
                    <a:pt x="3566" y="2266"/>
                  </a:lnTo>
                  <a:lnTo>
                    <a:pt x="3566" y="2249"/>
                  </a:lnTo>
                  <a:lnTo>
                    <a:pt x="3566" y="2196"/>
                  </a:lnTo>
                  <a:lnTo>
                    <a:pt x="3531" y="2196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94" name="Freeform 74"/>
            <p:cNvSpPr>
              <a:spLocks/>
            </p:cNvSpPr>
            <p:nvPr/>
          </p:nvSpPr>
          <p:spPr bwMode="auto">
            <a:xfrm>
              <a:off x="2680543" y="3360714"/>
              <a:ext cx="1310043" cy="809403"/>
            </a:xfrm>
            <a:custGeom>
              <a:avLst/>
              <a:gdLst>
                <a:gd name="T0" fmla="*/ 1212 w 2161"/>
                <a:gd name="T1" fmla="*/ 1194 h 1335"/>
                <a:gd name="T2" fmla="*/ 1300 w 2161"/>
                <a:gd name="T3" fmla="*/ 983 h 1335"/>
                <a:gd name="T4" fmla="*/ 1370 w 2161"/>
                <a:gd name="T5" fmla="*/ 878 h 1335"/>
                <a:gd name="T6" fmla="*/ 1475 w 2161"/>
                <a:gd name="T7" fmla="*/ 720 h 1335"/>
                <a:gd name="T8" fmla="*/ 1511 w 2161"/>
                <a:gd name="T9" fmla="*/ 755 h 1335"/>
                <a:gd name="T10" fmla="*/ 1686 w 2161"/>
                <a:gd name="T11" fmla="*/ 650 h 1335"/>
                <a:gd name="T12" fmla="*/ 1932 w 2161"/>
                <a:gd name="T13" fmla="*/ 527 h 1335"/>
                <a:gd name="T14" fmla="*/ 2143 w 2161"/>
                <a:gd name="T15" fmla="*/ 404 h 1335"/>
                <a:gd name="T16" fmla="*/ 2108 w 2161"/>
                <a:gd name="T17" fmla="*/ 298 h 1335"/>
                <a:gd name="T18" fmla="*/ 2161 w 2161"/>
                <a:gd name="T19" fmla="*/ 228 h 1335"/>
                <a:gd name="T20" fmla="*/ 2161 w 2161"/>
                <a:gd name="T21" fmla="*/ 210 h 1335"/>
                <a:gd name="T22" fmla="*/ 1879 w 2161"/>
                <a:gd name="T23" fmla="*/ 369 h 1335"/>
                <a:gd name="T24" fmla="*/ 1546 w 2161"/>
                <a:gd name="T25" fmla="*/ 281 h 1335"/>
                <a:gd name="T26" fmla="*/ 1159 w 2161"/>
                <a:gd name="T27" fmla="*/ 52 h 1335"/>
                <a:gd name="T28" fmla="*/ 1071 w 2161"/>
                <a:gd name="T29" fmla="*/ 17 h 1335"/>
                <a:gd name="T30" fmla="*/ 755 w 2161"/>
                <a:gd name="T31" fmla="*/ 35 h 1335"/>
                <a:gd name="T32" fmla="*/ 667 w 2161"/>
                <a:gd name="T33" fmla="*/ 140 h 1335"/>
                <a:gd name="T34" fmla="*/ 685 w 2161"/>
                <a:gd name="T35" fmla="*/ 210 h 1335"/>
                <a:gd name="T36" fmla="*/ 702 w 2161"/>
                <a:gd name="T37" fmla="*/ 298 h 1335"/>
                <a:gd name="T38" fmla="*/ 685 w 2161"/>
                <a:gd name="T39" fmla="*/ 386 h 1335"/>
                <a:gd name="T40" fmla="*/ 615 w 2161"/>
                <a:gd name="T41" fmla="*/ 333 h 1335"/>
                <a:gd name="T42" fmla="*/ 579 w 2161"/>
                <a:gd name="T43" fmla="*/ 351 h 1335"/>
                <a:gd name="T44" fmla="*/ 527 w 2161"/>
                <a:gd name="T45" fmla="*/ 333 h 1335"/>
                <a:gd name="T46" fmla="*/ 456 w 2161"/>
                <a:gd name="T47" fmla="*/ 281 h 1335"/>
                <a:gd name="T48" fmla="*/ 281 w 2161"/>
                <a:gd name="T49" fmla="*/ 210 h 1335"/>
                <a:gd name="T50" fmla="*/ 316 w 2161"/>
                <a:gd name="T51" fmla="*/ 316 h 1335"/>
                <a:gd name="T52" fmla="*/ 298 w 2161"/>
                <a:gd name="T53" fmla="*/ 439 h 1335"/>
                <a:gd name="T54" fmla="*/ 298 w 2161"/>
                <a:gd name="T55" fmla="*/ 491 h 1335"/>
                <a:gd name="T56" fmla="*/ 246 w 2161"/>
                <a:gd name="T57" fmla="*/ 509 h 1335"/>
                <a:gd name="T58" fmla="*/ 193 w 2161"/>
                <a:gd name="T59" fmla="*/ 650 h 1335"/>
                <a:gd name="T60" fmla="*/ 298 w 2161"/>
                <a:gd name="T61" fmla="*/ 667 h 1335"/>
                <a:gd name="T62" fmla="*/ 333 w 2161"/>
                <a:gd name="T63" fmla="*/ 614 h 1335"/>
                <a:gd name="T64" fmla="*/ 369 w 2161"/>
                <a:gd name="T65" fmla="*/ 720 h 1335"/>
                <a:gd name="T66" fmla="*/ 263 w 2161"/>
                <a:gd name="T67" fmla="*/ 808 h 1335"/>
                <a:gd name="T68" fmla="*/ 281 w 2161"/>
                <a:gd name="T69" fmla="*/ 860 h 1335"/>
                <a:gd name="T70" fmla="*/ 158 w 2161"/>
                <a:gd name="T71" fmla="*/ 913 h 1335"/>
                <a:gd name="T72" fmla="*/ 70 w 2161"/>
                <a:gd name="T73" fmla="*/ 983 h 1335"/>
                <a:gd name="T74" fmla="*/ 0 w 2161"/>
                <a:gd name="T75" fmla="*/ 1141 h 1335"/>
                <a:gd name="T76" fmla="*/ 35 w 2161"/>
                <a:gd name="T77" fmla="*/ 1159 h 1335"/>
                <a:gd name="T78" fmla="*/ 17 w 2161"/>
                <a:gd name="T79" fmla="*/ 1247 h 1335"/>
                <a:gd name="T80" fmla="*/ 52 w 2161"/>
                <a:gd name="T81" fmla="*/ 1299 h 1335"/>
                <a:gd name="T82" fmla="*/ 158 w 2161"/>
                <a:gd name="T83" fmla="*/ 1229 h 1335"/>
                <a:gd name="T84" fmla="*/ 246 w 2161"/>
                <a:gd name="T85" fmla="*/ 1247 h 1335"/>
                <a:gd name="T86" fmla="*/ 281 w 2161"/>
                <a:gd name="T87" fmla="*/ 1282 h 1335"/>
                <a:gd name="T88" fmla="*/ 351 w 2161"/>
                <a:gd name="T89" fmla="*/ 1247 h 1335"/>
                <a:gd name="T90" fmla="*/ 404 w 2161"/>
                <a:gd name="T91" fmla="*/ 1212 h 1335"/>
                <a:gd name="T92" fmla="*/ 404 w 2161"/>
                <a:gd name="T93" fmla="*/ 1141 h 1335"/>
                <a:gd name="T94" fmla="*/ 456 w 2161"/>
                <a:gd name="T95" fmla="*/ 1141 h 1335"/>
                <a:gd name="T96" fmla="*/ 544 w 2161"/>
                <a:gd name="T97" fmla="*/ 1176 h 1335"/>
                <a:gd name="T98" fmla="*/ 579 w 2161"/>
                <a:gd name="T99" fmla="*/ 1212 h 1335"/>
                <a:gd name="T100" fmla="*/ 632 w 2161"/>
                <a:gd name="T101" fmla="*/ 1264 h 1335"/>
                <a:gd name="T102" fmla="*/ 808 w 2161"/>
                <a:gd name="T103" fmla="*/ 1282 h 1335"/>
                <a:gd name="T104" fmla="*/ 931 w 2161"/>
                <a:gd name="T105" fmla="*/ 1264 h 1335"/>
                <a:gd name="T106" fmla="*/ 1142 w 2161"/>
                <a:gd name="T107" fmla="*/ 1335 h 133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161"/>
                <a:gd name="T163" fmla="*/ 0 h 1335"/>
                <a:gd name="T164" fmla="*/ 2161 w 2161"/>
                <a:gd name="T165" fmla="*/ 1335 h 133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161" h="1335">
                  <a:moveTo>
                    <a:pt x="1177" y="1264"/>
                  </a:moveTo>
                  <a:lnTo>
                    <a:pt x="1177" y="1264"/>
                  </a:lnTo>
                  <a:lnTo>
                    <a:pt x="1194" y="1229"/>
                  </a:lnTo>
                  <a:lnTo>
                    <a:pt x="1212" y="1194"/>
                  </a:lnTo>
                  <a:lnTo>
                    <a:pt x="1247" y="1071"/>
                  </a:lnTo>
                  <a:lnTo>
                    <a:pt x="1265" y="1018"/>
                  </a:lnTo>
                  <a:lnTo>
                    <a:pt x="1300" y="983"/>
                  </a:lnTo>
                  <a:lnTo>
                    <a:pt x="1335" y="931"/>
                  </a:lnTo>
                  <a:lnTo>
                    <a:pt x="1370" y="878"/>
                  </a:lnTo>
                  <a:lnTo>
                    <a:pt x="1405" y="772"/>
                  </a:lnTo>
                  <a:lnTo>
                    <a:pt x="1440" y="737"/>
                  </a:lnTo>
                  <a:lnTo>
                    <a:pt x="1475" y="720"/>
                  </a:lnTo>
                  <a:lnTo>
                    <a:pt x="1511" y="720"/>
                  </a:lnTo>
                  <a:lnTo>
                    <a:pt x="1511" y="755"/>
                  </a:lnTo>
                  <a:lnTo>
                    <a:pt x="1563" y="737"/>
                  </a:lnTo>
                  <a:lnTo>
                    <a:pt x="1598" y="702"/>
                  </a:lnTo>
                  <a:lnTo>
                    <a:pt x="1651" y="685"/>
                  </a:lnTo>
                  <a:lnTo>
                    <a:pt x="1686" y="650"/>
                  </a:lnTo>
                  <a:lnTo>
                    <a:pt x="1809" y="597"/>
                  </a:lnTo>
                  <a:lnTo>
                    <a:pt x="1862" y="562"/>
                  </a:lnTo>
                  <a:lnTo>
                    <a:pt x="1932" y="527"/>
                  </a:lnTo>
                  <a:lnTo>
                    <a:pt x="2073" y="474"/>
                  </a:lnTo>
                  <a:lnTo>
                    <a:pt x="2125" y="421"/>
                  </a:lnTo>
                  <a:lnTo>
                    <a:pt x="2143" y="404"/>
                  </a:lnTo>
                  <a:lnTo>
                    <a:pt x="2143" y="369"/>
                  </a:lnTo>
                  <a:lnTo>
                    <a:pt x="2125" y="333"/>
                  </a:lnTo>
                  <a:lnTo>
                    <a:pt x="2108" y="298"/>
                  </a:lnTo>
                  <a:lnTo>
                    <a:pt x="2125" y="281"/>
                  </a:lnTo>
                  <a:lnTo>
                    <a:pt x="2125" y="263"/>
                  </a:lnTo>
                  <a:lnTo>
                    <a:pt x="2161" y="228"/>
                  </a:lnTo>
                  <a:lnTo>
                    <a:pt x="2161" y="210"/>
                  </a:lnTo>
                  <a:lnTo>
                    <a:pt x="2108" y="228"/>
                  </a:lnTo>
                  <a:lnTo>
                    <a:pt x="2055" y="246"/>
                  </a:lnTo>
                  <a:lnTo>
                    <a:pt x="1967" y="316"/>
                  </a:lnTo>
                  <a:lnTo>
                    <a:pt x="1879" y="369"/>
                  </a:lnTo>
                  <a:lnTo>
                    <a:pt x="1827" y="386"/>
                  </a:lnTo>
                  <a:lnTo>
                    <a:pt x="1756" y="386"/>
                  </a:lnTo>
                  <a:lnTo>
                    <a:pt x="1546" y="281"/>
                  </a:lnTo>
                  <a:lnTo>
                    <a:pt x="1247" y="140"/>
                  </a:lnTo>
                  <a:lnTo>
                    <a:pt x="1194" y="87"/>
                  </a:lnTo>
                  <a:lnTo>
                    <a:pt x="1159" y="52"/>
                  </a:lnTo>
                  <a:lnTo>
                    <a:pt x="1124" y="17"/>
                  </a:lnTo>
                  <a:lnTo>
                    <a:pt x="1089" y="0"/>
                  </a:lnTo>
                  <a:lnTo>
                    <a:pt x="1071" y="17"/>
                  </a:lnTo>
                  <a:lnTo>
                    <a:pt x="948" y="35"/>
                  </a:lnTo>
                  <a:lnTo>
                    <a:pt x="825" y="35"/>
                  </a:lnTo>
                  <a:lnTo>
                    <a:pt x="755" y="35"/>
                  </a:lnTo>
                  <a:lnTo>
                    <a:pt x="738" y="70"/>
                  </a:lnTo>
                  <a:lnTo>
                    <a:pt x="702" y="105"/>
                  </a:lnTo>
                  <a:lnTo>
                    <a:pt x="667" y="140"/>
                  </a:lnTo>
                  <a:lnTo>
                    <a:pt x="667" y="193"/>
                  </a:lnTo>
                  <a:lnTo>
                    <a:pt x="667" y="210"/>
                  </a:lnTo>
                  <a:lnTo>
                    <a:pt x="685" y="210"/>
                  </a:lnTo>
                  <a:lnTo>
                    <a:pt x="685" y="228"/>
                  </a:lnTo>
                  <a:lnTo>
                    <a:pt x="702" y="228"/>
                  </a:lnTo>
                  <a:lnTo>
                    <a:pt x="702" y="298"/>
                  </a:lnTo>
                  <a:lnTo>
                    <a:pt x="702" y="351"/>
                  </a:lnTo>
                  <a:lnTo>
                    <a:pt x="702" y="386"/>
                  </a:lnTo>
                  <a:lnTo>
                    <a:pt x="685" y="386"/>
                  </a:lnTo>
                  <a:lnTo>
                    <a:pt x="650" y="386"/>
                  </a:lnTo>
                  <a:lnTo>
                    <a:pt x="650" y="369"/>
                  </a:lnTo>
                  <a:lnTo>
                    <a:pt x="615" y="333"/>
                  </a:lnTo>
                  <a:lnTo>
                    <a:pt x="597" y="351"/>
                  </a:lnTo>
                  <a:lnTo>
                    <a:pt x="579" y="351"/>
                  </a:lnTo>
                  <a:lnTo>
                    <a:pt x="579" y="333"/>
                  </a:lnTo>
                  <a:lnTo>
                    <a:pt x="527" y="333"/>
                  </a:lnTo>
                  <a:lnTo>
                    <a:pt x="492" y="316"/>
                  </a:lnTo>
                  <a:lnTo>
                    <a:pt x="474" y="316"/>
                  </a:lnTo>
                  <a:lnTo>
                    <a:pt x="456" y="281"/>
                  </a:lnTo>
                  <a:lnTo>
                    <a:pt x="369" y="228"/>
                  </a:lnTo>
                  <a:lnTo>
                    <a:pt x="281" y="193"/>
                  </a:lnTo>
                  <a:lnTo>
                    <a:pt x="281" y="210"/>
                  </a:lnTo>
                  <a:lnTo>
                    <a:pt x="281" y="228"/>
                  </a:lnTo>
                  <a:lnTo>
                    <a:pt x="298" y="281"/>
                  </a:lnTo>
                  <a:lnTo>
                    <a:pt x="316" y="316"/>
                  </a:lnTo>
                  <a:lnTo>
                    <a:pt x="316" y="351"/>
                  </a:lnTo>
                  <a:lnTo>
                    <a:pt x="298" y="404"/>
                  </a:lnTo>
                  <a:lnTo>
                    <a:pt x="298" y="439"/>
                  </a:lnTo>
                  <a:lnTo>
                    <a:pt x="298" y="474"/>
                  </a:lnTo>
                  <a:lnTo>
                    <a:pt x="298" y="491"/>
                  </a:lnTo>
                  <a:lnTo>
                    <a:pt x="298" y="509"/>
                  </a:lnTo>
                  <a:lnTo>
                    <a:pt x="281" y="509"/>
                  </a:lnTo>
                  <a:lnTo>
                    <a:pt x="246" y="509"/>
                  </a:lnTo>
                  <a:lnTo>
                    <a:pt x="210" y="562"/>
                  </a:lnTo>
                  <a:lnTo>
                    <a:pt x="193" y="632"/>
                  </a:lnTo>
                  <a:lnTo>
                    <a:pt x="193" y="650"/>
                  </a:lnTo>
                  <a:lnTo>
                    <a:pt x="228" y="650"/>
                  </a:lnTo>
                  <a:lnTo>
                    <a:pt x="281" y="667"/>
                  </a:lnTo>
                  <a:lnTo>
                    <a:pt x="298" y="667"/>
                  </a:lnTo>
                  <a:lnTo>
                    <a:pt x="298" y="650"/>
                  </a:lnTo>
                  <a:lnTo>
                    <a:pt x="316" y="632"/>
                  </a:lnTo>
                  <a:lnTo>
                    <a:pt x="333" y="614"/>
                  </a:lnTo>
                  <a:lnTo>
                    <a:pt x="386" y="632"/>
                  </a:lnTo>
                  <a:lnTo>
                    <a:pt x="404" y="667"/>
                  </a:lnTo>
                  <a:lnTo>
                    <a:pt x="369" y="720"/>
                  </a:lnTo>
                  <a:lnTo>
                    <a:pt x="298" y="772"/>
                  </a:lnTo>
                  <a:lnTo>
                    <a:pt x="281" y="790"/>
                  </a:lnTo>
                  <a:lnTo>
                    <a:pt x="263" y="808"/>
                  </a:lnTo>
                  <a:lnTo>
                    <a:pt x="263" y="825"/>
                  </a:lnTo>
                  <a:lnTo>
                    <a:pt x="263" y="843"/>
                  </a:lnTo>
                  <a:lnTo>
                    <a:pt x="281" y="860"/>
                  </a:lnTo>
                  <a:lnTo>
                    <a:pt x="263" y="878"/>
                  </a:lnTo>
                  <a:lnTo>
                    <a:pt x="210" y="895"/>
                  </a:lnTo>
                  <a:lnTo>
                    <a:pt x="158" y="913"/>
                  </a:lnTo>
                  <a:lnTo>
                    <a:pt x="123" y="913"/>
                  </a:lnTo>
                  <a:lnTo>
                    <a:pt x="105" y="931"/>
                  </a:lnTo>
                  <a:lnTo>
                    <a:pt x="70" y="983"/>
                  </a:lnTo>
                  <a:lnTo>
                    <a:pt x="35" y="1089"/>
                  </a:lnTo>
                  <a:lnTo>
                    <a:pt x="17" y="1106"/>
                  </a:lnTo>
                  <a:lnTo>
                    <a:pt x="0" y="1141"/>
                  </a:lnTo>
                  <a:lnTo>
                    <a:pt x="17" y="1159"/>
                  </a:lnTo>
                  <a:lnTo>
                    <a:pt x="35" y="1159"/>
                  </a:lnTo>
                  <a:lnTo>
                    <a:pt x="0" y="1229"/>
                  </a:lnTo>
                  <a:lnTo>
                    <a:pt x="17" y="1247"/>
                  </a:lnTo>
                  <a:lnTo>
                    <a:pt x="35" y="1264"/>
                  </a:lnTo>
                  <a:lnTo>
                    <a:pt x="35" y="1282"/>
                  </a:lnTo>
                  <a:lnTo>
                    <a:pt x="52" y="1299"/>
                  </a:lnTo>
                  <a:lnTo>
                    <a:pt x="70" y="1282"/>
                  </a:lnTo>
                  <a:lnTo>
                    <a:pt x="105" y="1264"/>
                  </a:lnTo>
                  <a:lnTo>
                    <a:pt x="123" y="1247"/>
                  </a:lnTo>
                  <a:lnTo>
                    <a:pt x="158" y="1229"/>
                  </a:lnTo>
                  <a:lnTo>
                    <a:pt x="210" y="1247"/>
                  </a:lnTo>
                  <a:lnTo>
                    <a:pt x="246" y="1247"/>
                  </a:lnTo>
                  <a:lnTo>
                    <a:pt x="263" y="1229"/>
                  </a:lnTo>
                  <a:lnTo>
                    <a:pt x="263" y="1264"/>
                  </a:lnTo>
                  <a:lnTo>
                    <a:pt x="281" y="1282"/>
                  </a:lnTo>
                  <a:lnTo>
                    <a:pt x="316" y="1264"/>
                  </a:lnTo>
                  <a:lnTo>
                    <a:pt x="351" y="1247"/>
                  </a:lnTo>
                  <a:lnTo>
                    <a:pt x="369" y="1247"/>
                  </a:lnTo>
                  <a:lnTo>
                    <a:pt x="386" y="1247"/>
                  </a:lnTo>
                  <a:lnTo>
                    <a:pt x="404" y="1212"/>
                  </a:lnTo>
                  <a:lnTo>
                    <a:pt x="386" y="1141"/>
                  </a:lnTo>
                  <a:lnTo>
                    <a:pt x="404" y="1141"/>
                  </a:lnTo>
                  <a:lnTo>
                    <a:pt x="421" y="1141"/>
                  </a:lnTo>
                  <a:lnTo>
                    <a:pt x="456" y="1141"/>
                  </a:lnTo>
                  <a:lnTo>
                    <a:pt x="509" y="1141"/>
                  </a:lnTo>
                  <a:lnTo>
                    <a:pt x="544" y="1159"/>
                  </a:lnTo>
                  <a:lnTo>
                    <a:pt x="544" y="1176"/>
                  </a:lnTo>
                  <a:lnTo>
                    <a:pt x="544" y="1212"/>
                  </a:lnTo>
                  <a:lnTo>
                    <a:pt x="562" y="1212"/>
                  </a:lnTo>
                  <a:lnTo>
                    <a:pt x="579" y="1212"/>
                  </a:lnTo>
                  <a:lnTo>
                    <a:pt x="597" y="1229"/>
                  </a:lnTo>
                  <a:lnTo>
                    <a:pt x="615" y="1247"/>
                  </a:lnTo>
                  <a:lnTo>
                    <a:pt x="632" y="1264"/>
                  </a:lnTo>
                  <a:lnTo>
                    <a:pt x="667" y="1282"/>
                  </a:lnTo>
                  <a:lnTo>
                    <a:pt x="808" y="1282"/>
                  </a:lnTo>
                  <a:lnTo>
                    <a:pt x="843" y="1264"/>
                  </a:lnTo>
                  <a:lnTo>
                    <a:pt x="861" y="1247"/>
                  </a:lnTo>
                  <a:lnTo>
                    <a:pt x="931" y="1264"/>
                  </a:lnTo>
                  <a:lnTo>
                    <a:pt x="983" y="1299"/>
                  </a:lnTo>
                  <a:lnTo>
                    <a:pt x="1054" y="1335"/>
                  </a:lnTo>
                  <a:lnTo>
                    <a:pt x="1106" y="1335"/>
                  </a:lnTo>
                  <a:lnTo>
                    <a:pt x="1142" y="1335"/>
                  </a:lnTo>
                  <a:lnTo>
                    <a:pt x="1177" y="1264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 75"/>
            <p:cNvSpPr>
              <a:spLocks/>
            </p:cNvSpPr>
            <p:nvPr/>
          </p:nvSpPr>
          <p:spPr bwMode="auto">
            <a:xfrm>
              <a:off x="2286500" y="4254998"/>
              <a:ext cx="276437" cy="202502"/>
            </a:xfrm>
            <a:custGeom>
              <a:avLst/>
              <a:gdLst>
                <a:gd name="T0" fmla="*/ 175 w 456"/>
                <a:gd name="T1" fmla="*/ 35 h 334"/>
                <a:gd name="T2" fmla="*/ 105 w 456"/>
                <a:gd name="T3" fmla="*/ 0 h 334"/>
                <a:gd name="T4" fmla="*/ 70 w 456"/>
                <a:gd name="T5" fmla="*/ 0 h 334"/>
                <a:gd name="T6" fmla="*/ 17 w 456"/>
                <a:gd name="T7" fmla="*/ 53 h 334"/>
                <a:gd name="T8" fmla="*/ 0 w 456"/>
                <a:gd name="T9" fmla="*/ 88 h 334"/>
                <a:gd name="T10" fmla="*/ 17 w 456"/>
                <a:gd name="T11" fmla="*/ 141 h 334"/>
                <a:gd name="T12" fmla="*/ 123 w 456"/>
                <a:gd name="T13" fmla="*/ 158 h 334"/>
                <a:gd name="T14" fmla="*/ 140 w 456"/>
                <a:gd name="T15" fmla="*/ 176 h 334"/>
                <a:gd name="T16" fmla="*/ 158 w 456"/>
                <a:gd name="T17" fmla="*/ 228 h 334"/>
                <a:gd name="T18" fmla="*/ 175 w 456"/>
                <a:gd name="T19" fmla="*/ 246 h 334"/>
                <a:gd name="T20" fmla="*/ 193 w 456"/>
                <a:gd name="T21" fmla="*/ 299 h 334"/>
                <a:gd name="T22" fmla="*/ 246 w 456"/>
                <a:gd name="T23" fmla="*/ 316 h 334"/>
                <a:gd name="T24" fmla="*/ 263 w 456"/>
                <a:gd name="T25" fmla="*/ 299 h 334"/>
                <a:gd name="T26" fmla="*/ 298 w 456"/>
                <a:gd name="T27" fmla="*/ 281 h 334"/>
                <a:gd name="T28" fmla="*/ 351 w 456"/>
                <a:gd name="T29" fmla="*/ 299 h 334"/>
                <a:gd name="T30" fmla="*/ 386 w 456"/>
                <a:gd name="T31" fmla="*/ 299 h 334"/>
                <a:gd name="T32" fmla="*/ 421 w 456"/>
                <a:gd name="T33" fmla="*/ 316 h 334"/>
                <a:gd name="T34" fmla="*/ 439 w 456"/>
                <a:gd name="T35" fmla="*/ 316 h 334"/>
                <a:gd name="T36" fmla="*/ 439 w 456"/>
                <a:gd name="T37" fmla="*/ 334 h 334"/>
                <a:gd name="T38" fmla="*/ 439 w 456"/>
                <a:gd name="T39" fmla="*/ 334 h 334"/>
                <a:gd name="T40" fmla="*/ 456 w 456"/>
                <a:gd name="T41" fmla="*/ 281 h 334"/>
                <a:gd name="T42" fmla="*/ 439 w 456"/>
                <a:gd name="T43" fmla="*/ 228 h 334"/>
                <a:gd name="T44" fmla="*/ 439 w 456"/>
                <a:gd name="T45" fmla="*/ 193 h 334"/>
                <a:gd name="T46" fmla="*/ 421 w 456"/>
                <a:gd name="T47" fmla="*/ 193 h 334"/>
                <a:gd name="T48" fmla="*/ 404 w 456"/>
                <a:gd name="T49" fmla="*/ 141 h 334"/>
                <a:gd name="T50" fmla="*/ 386 w 456"/>
                <a:gd name="T51" fmla="*/ 141 h 334"/>
                <a:gd name="T52" fmla="*/ 369 w 456"/>
                <a:gd name="T53" fmla="*/ 141 h 334"/>
                <a:gd name="T54" fmla="*/ 351 w 456"/>
                <a:gd name="T55" fmla="*/ 105 h 334"/>
                <a:gd name="T56" fmla="*/ 263 w 456"/>
                <a:gd name="T57" fmla="*/ 88 h 334"/>
                <a:gd name="T58" fmla="*/ 246 w 456"/>
                <a:gd name="T59" fmla="*/ 88 h 334"/>
                <a:gd name="T60" fmla="*/ 210 w 456"/>
                <a:gd name="T61" fmla="*/ 53 h 334"/>
                <a:gd name="T62" fmla="*/ 175 w 456"/>
                <a:gd name="T63" fmla="*/ 18 h 334"/>
                <a:gd name="T64" fmla="*/ 175 w 456"/>
                <a:gd name="T65" fmla="*/ 35 h 33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56"/>
                <a:gd name="T100" fmla="*/ 0 h 334"/>
                <a:gd name="T101" fmla="*/ 456 w 456"/>
                <a:gd name="T102" fmla="*/ 334 h 33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56" h="334">
                  <a:moveTo>
                    <a:pt x="175" y="35"/>
                  </a:moveTo>
                  <a:lnTo>
                    <a:pt x="175" y="35"/>
                  </a:lnTo>
                  <a:lnTo>
                    <a:pt x="140" y="0"/>
                  </a:lnTo>
                  <a:lnTo>
                    <a:pt x="105" y="0"/>
                  </a:lnTo>
                  <a:lnTo>
                    <a:pt x="70" y="0"/>
                  </a:lnTo>
                  <a:lnTo>
                    <a:pt x="35" y="18"/>
                  </a:lnTo>
                  <a:lnTo>
                    <a:pt x="17" y="53"/>
                  </a:lnTo>
                  <a:lnTo>
                    <a:pt x="0" y="88"/>
                  </a:lnTo>
                  <a:lnTo>
                    <a:pt x="17" y="141"/>
                  </a:lnTo>
                  <a:lnTo>
                    <a:pt x="88" y="158"/>
                  </a:lnTo>
                  <a:lnTo>
                    <a:pt x="123" y="158"/>
                  </a:lnTo>
                  <a:lnTo>
                    <a:pt x="140" y="176"/>
                  </a:lnTo>
                  <a:lnTo>
                    <a:pt x="158" y="211"/>
                  </a:lnTo>
                  <a:lnTo>
                    <a:pt x="158" y="228"/>
                  </a:lnTo>
                  <a:lnTo>
                    <a:pt x="175" y="246"/>
                  </a:lnTo>
                  <a:lnTo>
                    <a:pt x="175" y="281"/>
                  </a:lnTo>
                  <a:lnTo>
                    <a:pt x="193" y="299"/>
                  </a:lnTo>
                  <a:lnTo>
                    <a:pt x="246" y="316"/>
                  </a:lnTo>
                  <a:lnTo>
                    <a:pt x="263" y="299"/>
                  </a:lnTo>
                  <a:lnTo>
                    <a:pt x="298" y="281"/>
                  </a:lnTo>
                  <a:lnTo>
                    <a:pt x="333" y="299"/>
                  </a:lnTo>
                  <a:lnTo>
                    <a:pt x="351" y="299"/>
                  </a:lnTo>
                  <a:lnTo>
                    <a:pt x="386" y="299"/>
                  </a:lnTo>
                  <a:lnTo>
                    <a:pt x="421" y="316"/>
                  </a:lnTo>
                  <a:lnTo>
                    <a:pt x="439" y="316"/>
                  </a:lnTo>
                  <a:lnTo>
                    <a:pt x="439" y="334"/>
                  </a:lnTo>
                  <a:lnTo>
                    <a:pt x="456" y="299"/>
                  </a:lnTo>
                  <a:lnTo>
                    <a:pt x="456" y="281"/>
                  </a:lnTo>
                  <a:lnTo>
                    <a:pt x="439" y="228"/>
                  </a:lnTo>
                  <a:lnTo>
                    <a:pt x="439" y="193"/>
                  </a:lnTo>
                  <a:lnTo>
                    <a:pt x="421" y="193"/>
                  </a:lnTo>
                  <a:lnTo>
                    <a:pt x="421" y="176"/>
                  </a:lnTo>
                  <a:lnTo>
                    <a:pt x="404" y="141"/>
                  </a:lnTo>
                  <a:lnTo>
                    <a:pt x="386" y="141"/>
                  </a:lnTo>
                  <a:lnTo>
                    <a:pt x="369" y="141"/>
                  </a:lnTo>
                  <a:lnTo>
                    <a:pt x="351" y="105"/>
                  </a:lnTo>
                  <a:lnTo>
                    <a:pt x="316" y="105"/>
                  </a:lnTo>
                  <a:lnTo>
                    <a:pt x="263" y="88"/>
                  </a:lnTo>
                  <a:lnTo>
                    <a:pt x="246" y="88"/>
                  </a:lnTo>
                  <a:lnTo>
                    <a:pt x="210" y="53"/>
                  </a:lnTo>
                  <a:lnTo>
                    <a:pt x="175" y="35"/>
                  </a:lnTo>
                  <a:lnTo>
                    <a:pt x="175" y="18"/>
                  </a:lnTo>
                  <a:lnTo>
                    <a:pt x="175" y="35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96" name="Freeform 76"/>
            <p:cNvSpPr>
              <a:spLocks/>
            </p:cNvSpPr>
            <p:nvPr/>
          </p:nvSpPr>
          <p:spPr bwMode="auto">
            <a:xfrm>
              <a:off x="2243458" y="4425367"/>
              <a:ext cx="500738" cy="426225"/>
            </a:xfrm>
            <a:custGeom>
              <a:avLst/>
              <a:gdLst>
                <a:gd name="T0" fmla="*/ 492 w 826"/>
                <a:gd name="T1" fmla="*/ 35 h 703"/>
                <a:gd name="T2" fmla="*/ 492 w 826"/>
                <a:gd name="T3" fmla="*/ 35 h 703"/>
                <a:gd name="T4" fmla="*/ 457 w 826"/>
                <a:gd name="T5" fmla="*/ 18 h 703"/>
                <a:gd name="T6" fmla="*/ 422 w 826"/>
                <a:gd name="T7" fmla="*/ 18 h 703"/>
                <a:gd name="T8" fmla="*/ 369 w 826"/>
                <a:gd name="T9" fmla="*/ 0 h 703"/>
                <a:gd name="T10" fmla="*/ 334 w 826"/>
                <a:gd name="T11" fmla="*/ 18 h 703"/>
                <a:gd name="T12" fmla="*/ 317 w 826"/>
                <a:gd name="T13" fmla="*/ 35 h 703"/>
                <a:gd name="T14" fmla="*/ 264 w 826"/>
                <a:gd name="T15" fmla="*/ 18 h 703"/>
                <a:gd name="T16" fmla="*/ 159 w 826"/>
                <a:gd name="T17" fmla="*/ 88 h 703"/>
                <a:gd name="T18" fmla="*/ 141 w 826"/>
                <a:gd name="T19" fmla="*/ 105 h 703"/>
                <a:gd name="T20" fmla="*/ 141 w 826"/>
                <a:gd name="T21" fmla="*/ 141 h 703"/>
                <a:gd name="T22" fmla="*/ 106 w 826"/>
                <a:gd name="T23" fmla="*/ 176 h 703"/>
                <a:gd name="T24" fmla="*/ 71 w 826"/>
                <a:gd name="T25" fmla="*/ 158 h 703"/>
                <a:gd name="T26" fmla="*/ 53 w 826"/>
                <a:gd name="T27" fmla="*/ 141 h 703"/>
                <a:gd name="T28" fmla="*/ 0 w 826"/>
                <a:gd name="T29" fmla="*/ 176 h 703"/>
                <a:gd name="T30" fmla="*/ 36 w 826"/>
                <a:gd name="T31" fmla="*/ 211 h 703"/>
                <a:gd name="T32" fmla="*/ 71 w 826"/>
                <a:gd name="T33" fmla="*/ 211 h 703"/>
                <a:gd name="T34" fmla="*/ 123 w 826"/>
                <a:gd name="T35" fmla="*/ 211 h 703"/>
                <a:gd name="T36" fmla="*/ 141 w 826"/>
                <a:gd name="T37" fmla="*/ 281 h 703"/>
                <a:gd name="T38" fmla="*/ 176 w 826"/>
                <a:gd name="T39" fmla="*/ 281 h 703"/>
                <a:gd name="T40" fmla="*/ 229 w 826"/>
                <a:gd name="T41" fmla="*/ 281 h 703"/>
                <a:gd name="T42" fmla="*/ 246 w 826"/>
                <a:gd name="T43" fmla="*/ 299 h 703"/>
                <a:gd name="T44" fmla="*/ 246 w 826"/>
                <a:gd name="T45" fmla="*/ 334 h 703"/>
                <a:gd name="T46" fmla="*/ 317 w 826"/>
                <a:gd name="T47" fmla="*/ 439 h 703"/>
                <a:gd name="T48" fmla="*/ 352 w 826"/>
                <a:gd name="T49" fmla="*/ 457 h 703"/>
                <a:gd name="T50" fmla="*/ 387 w 826"/>
                <a:gd name="T51" fmla="*/ 457 h 703"/>
                <a:gd name="T52" fmla="*/ 422 w 826"/>
                <a:gd name="T53" fmla="*/ 422 h 703"/>
                <a:gd name="T54" fmla="*/ 492 w 826"/>
                <a:gd name="T55" fmla="*/ 580 h 703"/>
                <a:gd name="T56" fmla="*/ 527 w 826"/>
                <a:gd name="T57" fmla="*/ 580 h 703"/>
                <a:gd name="T58" fmla="*/ 563 w 826"/>
                <a:gd name="T59" fmla="*/ 597 h 703"/>
                <a:gd name="T60" fmla="*/ 527 w 826"/>
                <a:gd name="T61" fmla="*/ 650 h 703"/>
                <a:gd name="T62" fmla="*/ 545 w 826"/>
                <a:gd name="T63" fmla="*/ 685 h 703"/>
                <a:gd name="T64" fmla="*/ 580 w 826"/>
                <a:gd name="T65" fmla="*/ 703 h 703"/>
                <a:gd name="T66" fmla="*/ 580 w 826"/>
                <a:gd name="T67" fmla="*/ 650 h 703"/>
                <a:gd name="T68" fmla="*/ 615 w 826"/>
                <a:gd name="T69" fmla="*/ 615 h 703"/>
                <a:gd name="T70" fmla="*/ 668 w 826"/>
                <a:gd name="T71" fmla="*/ 580 h 703"/>
                <a:gd name="T72" fmla="*/ 686 w 826"/>
                <a:gd name="T73" fmla="*/ 527 h 703"/>
                <a:gd name="T74" fmla="*/ 650 w 826"/>
                <a:gd name="T75" fmla="*/ 474 h 703"/>
                <a:gd name="T76" fmla="*/ 756 w 826"/>
                <a:gd name="T77" fmla="*/ 474 h 703"/>
                <a:gd name="T78" fmla="*/ 826 w 826"/>
                <a:gd name="T79" fmla="*/ 422 h 703"/>
                <a:gd name="T80" fmla="*/ 809 w 826"/>
                <a:gd name="T81" fmla="*/ 386 h 703"/>
                <a:gd name="T82" fmla="*/ 791 w 826"/>
                <a:gd name="T83" fmla="*/ 351 h 703"/>
                <a:gd name="T84" fmla="*/ 773 w 826"/>
                <a:gd name="T85" fmla="*/ 351 h 703"/>
                <a:gd name="T86" fmla="*/ 756 w 826"/>
                <a:gd name="T87" fmla="*/ 351 h 703"/>
                <a:gd name="T88" fmla="*/ 756 w 826"/>
                <a:gd name="T89" fmla="*/ 334 h 703"/>
                <a:gd name="T90" fmla="*/ 791 w 826"/>
                <a:gd name="T91" fmla="*/ 316 h 703"/>
                <a:gd name="T92" fmla="*/ 809 w 826"/>
                <a:gd name="T93" fmla="*/ 299 h 703"/>
                <a:gd name="T94" fmla="*/ 756 w 826"/>
                <a:gd name="T95" fmla="*/ 299 h 703"/>
                <a:gd name="T96" fmla="*/ 756 w 826"/>
                <a:gd name="T97" fmla="*/ 264 h 703"/>
                <a:gd name="T98" fmla="*/ 773 w 826"/>
                <a:gd name="T99" fmla="*/ 246 h 703"/>
                <a:gd name="T100" fmla="*/ 756 w 826"/>
                <a:gd name="T101" fmla="*/ 211 h 703"/>
                <a:gd name="T102" fmla="*/ 756 w 826"/>
                <a:gd name="T103" fmla="*/ 211 h 703"/>
                <a:gd name="T104" fmla="*/ 721 w 826"/>
                <a:gd name="T105" fmla="*/ 228 h 703"/>
                <a:gd name="T106" fmla="*/ 721 w 826"/>
                <a:gd name="T107" fmla="*/ 264 h 703"/>
                <a:gd name="T108" fmla="*/ 686 w 826"/>
                <a:gd name="T109" fmla="*/ 281 h 703"/>
                <a:gd name="T110" fmla="*/ 650 w 826"/>
                <a:gd name="T111" fmla="*/ 264 h 703"/>
                <a:gd name="T112" fmla="*/ 598 w 826"/>
                <a:gd name="T113" fmla="*/ 246 h 703"/>
                <a:gd name="T114" fmla="*/ 580 w 826"/>
                <a:gd name="T115" fmla="*/ 228 h 703"/>
                <a:gd name="T116" fmla="*/ 598 w 826"/>
                <a:gd name="T117" fmla="*/ 211 h 703"/>
                <a:gd name="T118" fmla="*/ 545 w 826"/>
                <a:gd name="T119" fmla="*/ 141 h 703"/>
                <a:gd name="T120" fmla="*/ 510 w 826"/>
                <a:gd name="T121" fmla="*/ 53 h 703"/>
                <a:gd name="T122" fmla="*/ 510 w 826"/>
                <a:gd name="T123" fmla="*/ 35 h 70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826"/>
                <a:gd name="T187" fmla="*/ 0 h 703"/>
                <a:gd name="T188" fmla="*/ 826 w 826"/>
                <a:gd name="T189" fmla="*/ 703 h 70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826" h="703">
                  <a:moveTo>
                    <a:pt x="510" y="35"/>
                  </a:moveTo>
                  <a:lnTo>
                    <a:pt x="492" y="35"/>
                  </a:lnTo>
                  <a:lnTo>
                    <a:pt x="457" y="18"/>
                  </a:lnTo>
                  <a:lnTo>
                    <a:pt x="422" y="18"/>
                  </a:lnTo>
                  <a:lnTo>
                    <a:pt x="404" y="18"/>
                  </a:lnTo>
                  <a:lnTo>
                    <a:pt x="369" y="0"/>
                  </a:lnTo>
                  <a:lnTo>
                    <a:pt x="334" y="18"/>
                  </a:lnTo>
                  <a:lnTo>
                    <a:pt x="317" y="35"/>
                  </a:lnTo>
                  <a:lnTo>
                    <a:pt x="264" y="18"/>
                  </a:lnTo>
                  <a:lnTo>
                    <a:pt x="194" y="53"/>
                  </a:lnTo>
                  <a:lnTo>
                    <a:pt x="159" y="88"/>
                  </a:lnTo>
                  <a:lnTo>
                    <a:pt x="141" y="105"/>
                  </a:lnTo>
                  <a:lnTo>
                    <a:pt x="141" y="141"/>
                  </a:lnTo>
                  <a:lnTo>
                    <a:pt x="141" y="158"/>
                  </a:lnTo>
                  <a:lnTo>
                    <a:pt x="106" y="176"/>
                  </a:lnTo>
                  <a:lnTo>
                    <a:pt x="71" y="158"/>
                  </a:lnTo>
                  <a:lnTo>
                    <a:pt x="53" y="141"/>
                  </a:lnTo>
                  <a:lnTo>
                    <a:pt x="18" y="158"/>
                  </a:lnTo>
                  <a:lnTo>
                    <a:pt x="0" y="176"/>
                  </a:lnTo>
                  <a:lnTo>
                    <a:pt x="36" y="211"/>
                  </a:lnTo>
                  <a:lnTo>
                    <a:pt x="71" y="211"/>
                  </a:lnTo>
                  <a:lnTo>
                    <a:pt x="123" y="211"/>
                  </a:lnTo>
                  <a:lnTo>
                    <a:pt x="141" y="246"/>
                  </a:lnTo>
                  <a:lnTo>
                    <a:pt x="141" y="281"/>
                  </a:lnTo>
                  <a:lnTo>
                    <a:pt x="176" y="281"/>
                  </a:lnTo>
                  <a:lnTo>
                    <a:pt x="229" y="281"/>
                  </a:lnTo>
                  <a:lnTo>
                    <a:pt x="246" y="281"/>
                  </a:lnTo>
                  <a:lnTo>
                    <a:pt x="246" y="299"/>
                  </a:lnTo>
                  <a:lnTo>
                    <a:pt x="246" y="334"/>
                  </a:lnTo>
                  <a:lnTo>
                    <a:pt x="281" y="422"/>
                  </a:lnTo>
                  <a:lnTo>
                    <a:pt x="317" y="439"/>
                  </a:lnTo>
                  <a:lnTo>
                    <a:pt x="352" y="457"/>
                  </a:lnTo>
                  <a:lnTo>
                    <a:pt x="387" y="457"/>
                  </a:lnTo>
                  <a:lnTo>
                    <a:pt x="404" y="439"/>
                  </a:lnTo>
                  <a:lnTo>
                    <a:pt x="422" y="422"/>
                  </a:lnTo>
                  <a:lnTo>
                    <a:pt x="492" y="580"/>
                  </a:lnTo>
                  <a:lnTo>
                    <a:pt x="527" y="580"/>
                  </a:lnTo>
                  <a:lnTo>
                    <a:pt x="563" y="597"/>
                  </a:lnTo>
                  <a:lnTo>
                    <a:pt x="545" y="632"/>
                  </a:lnTo>
                  <a:lnTo>
                    <a:pt x="527" y="650"/>
                  </a:lnTo>
                  <a:lnTo>
                    <a:pt x="545" y="685"/>
                  </a:lnTo>
                  <a:lnTo>
                    <a:pt x="580" y="703"/>
                  </a:lnTo>
                  <a:lnTo>
                    <a:pt x="580" y="668"/>
                  </a:lnTo>
                  <a:lnTo>
                    <a:pt x="580" y="650"/>
                  </a:lnTo>
                  <a:lnTo>
                    <a:pt x="615" y="615"/>
                  </a:lnTo>
                  <a:lnTo>
                    <a:pt x="633" y="597"/>
                  </a:lnTo>
                  <a:lnTo>
                    <a:pt x="668" y="580"/>
                  </a:lnTo>
                  <a:lnTo>
                    <a:pt x="686" y="527"/>
                  </a:lnTo>
                  <a:lnTo>
                    <a:pt x="668" y="509"/>
                  </a:lnTo>
                  <a:lnTo>
                    <a:pt x="650" y="474"/>
                  </a:lnTo>
                  <a:lnTo>
                    <a:pt x="756" y="474"/>
                  </a:lnTo>
                  <a:lnTo>
                    <a:pt x="809" y="457"/>
                  </a:lnTo>
                  <a:lnTo>
                    <a:pt x="826" y="422"/>
                  </a:lnTo>
                  <a:lnTo>
                    <a:pt x="809" y="386"/>
                  </a:lnTo>
                  <a:lnTo>
                    <a:pt x="791" y="386"/>
                  </a:lnTo>
                  <a:lnTo>
                    <a:pt x="791" y="351"/>
                  </a:lnTo>
                  <a:lnTo>
                    <a:pt x="773" y="351"/>
                  </a:lnTo>
                  <a:lnTo>
                    <a:pt x="756" y="351"/>
                  </a:lnTo>
                  <a:lnTo>
                    <a:pt x="756" y="334"/>
                  </a:lnTo>
                  <a:lnTo>
                    <a:pt x="791" y="316"/>
                  </a:lnTo>
                  <a:lnTo>
                    <a:pt x="809" y="299"/>
                  </a:lnTo>
                  <a:lnTo>
                    <a:pt x="756" y="299"/>
                  </a:lnTo>
                  <a:lnTo>
                    <a:pt x="756" y="264"/>
                  </a:lnTo>
                  <a:lnTo>
                    <a:pt x="773" y="246"/>
                  </a:lnTo>
                  <a:lnTo>
                    <a:pt x="773" y="211"/>
                  </a:lnTo>
                  <a:lnTo>
                    <a:pt x="756" y="211"/>
                  </a:lnTo>
                  <a:lnTo>
                    <a:pt x="738" y="228"/>
                  </a:lnTo>
                  <a:lnTo>
                    <a:pt x="721" y="228"/>
                  </a:lnTo>
                  <a:lnTo>
                    <a:pt x="721" y="264"/>
                  </a:lnTo>
                  <a:lnTo>
                    <a:pt x="686" y="281"/>
                  </a:lnTo>
                  <a:lnTo>
                    <a:pt x="650" y="264"/>
                  </a:lnTo>
                  <a:lnTo>
                    <a:pt x="598" y="264"/>
                  </a:lnTo>
                  <a:lnTo>
                    <a:pt x="598" y="246"/>
                  </a:lnTo>
                  <a:lnTo>
                    <a:pt x="580" y="228"/>
                  </a:lnTo>
                  <a:lnTo>
                    <a:pt x="598" y="211"/>
                  </a:lnTo>
                  <a:lnTo>
                    <a:pt x="563" y="176"/>
                  </a:lnTo>
                  <a:lnTo>
                    <a:pt x="545" y="141"/>
                  </a:lnTo>
                  <a:lnTo>
                    <a:pt x="510" y="53"/>
                  </a:lnTo>
                  <a:lnTo>
                    <a:pt x="510" y="35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97" name="Freeform 77"/>
            <p:cNvSpPr>
              <a:spLocks/>
            </p:cNvSpPr>
            <p:nvPr/>
          </p:nvSpPr>
          <p:spPr bwMode="auto">
            <a:xfrm>
              <a:off x="2211935" y="4340486"/>
              <a:ext cx="191566" cy="191589"/>
            </a:xfrm>
            <a:custGeom>
              <a:avLst/>
              <a:gdLst>
                <a:gd name="T0" fmla="*/ 316 w 316"/>
                <a:gd name="T1" fmla="*/ 158 h 316"/>
                <a:gd name="T2" fmla="*/ 316 w 316"/>
                <a:gd name="T3" fmla="*/ 158 h 316"/>
                <a:gd name="T4" fmla="*/ 246 w 316"/>
                <a:gd name="T5" fmla="*/ 193 h 316"/>
                <a:gd name="T6" fmla="*/ 211 w 316"/>
                <a:gd name="T7" fmla="*/ 228 h 316"/>
                <a:gd name="T8" fmla="*/ 193 w 316"/>
                <a:gd name="T9" fmla="*/ 245 h 316"/>
                <a:gd name="T10" fmla="*/ 193 w 316"/>
                <a:gd name="T11" fmla="*/ 245 h 316"/>
                <a:gd name="T12" fmla="*/ 193 w 316"/>
                <a:gd name="T13" fmla="*/ 281 h 316"/>
                <a:gd name="T14" fmla="*/ 193 w 316"/>
                <a:gd name="T15" fmla="*/ 281 h 316"/>
                <a:gd name="T16" fmla="*/ 193 w 316"/>
                <a:gd name="T17" fmla="*/ 298 h 316"/>
                <a:gd name="T18" fmla="*/ 158 w 316"/>
                <a:gd name="T19" fmla="*/ 316 h 316"/>
                <a:gd name="T20" fmla="*/ 158 w 316"/>
                <a:gd name="T21" fmla="*/ 316 h 316"/>
                <a:gd name="T22" fmla="*/ 123 w 316"/>
                <a:gd name="T23" fmla="*/ 298 h 316"/>
                <a:gd name="T24" fmla="*/ 105 w 316"/>
                <a:gd name="T25" fmla="*/ 281 h 316"/>
                <a:gd name="T26" fmla="*/ 105 w 316"/>
                <a:gd name="T27" fmla="*/ 281 h 316"/>
                <a:gd name="T28" fmla="*/ 70 w 316"/>
                <a:gd name="T29" fmla="*/ 298 h 316"/>
                <a:gd name="T30" fmla="*/ 52 w 316"/>
                <a:gd name="T31" fmla="*/ 316 h 316"/>
                <a:gd name="T32" fmla="*/ 52 w 316"/>
                <a:gd name="T33" fmla="*/ 316 h 316"/>
                <a:gd name="T34" fmla="*/ 0 w 316"/>
                <a:gd name="T35" fmla="*/ 245 h 316"/>
                <a:gd name="T36" fmla="*/ 0 w 316"/>
                <a:gd name="T37" fmla="*/ 245 h 316"/>
                <a:gd name="T38" fmla="*/ 17 w 316"/>
                <a:gd name="T39" fmla="*/ 228 h 316"/>
                <a:gd name="T40" fmla="*/ 35 w 316"/>
                <a:gd name="T41" fmla="*/ 210 h 316"/>
                <a:gd name="T42" fmla="*/ 35 w 316"/>
                <a:gd name="T43" fmla="*/ 210 h 316"/>
                <a:gd name="T44" fmla="*/ 17 w 316"/>
                <a:gd name="T45" fmla="*/ 193 h 316"/>
                <a:gd name="T46" fmla="*/ 0 w 316"/>
                <a:gd name="T47" fmla="*/ 175 h 316"/>
                <a:gd name="T48" fmla="*/ 0 w 316"/>
                <a:gd name="T49" fmla="*/ 175 h 316"/>
                <a:gd name="T50" fmla="*/ 0 w 316"/>
                <a:gd name="T51" fmla="*/ 158 h 316"/>
                <a:gd name="T52" fmla="*/ 35 w 316"/>
                <a:gd name="T53" fmla="*/ 140 h 316"/>
                <a:gd name="T54" fmla="*/ 52 w 316"/>
                <a:gd name="T55" fmla="*/ 123 h 316"/>
                <a:gd name="T56" fmla="*/ 70 w 316"/>
                <a:gd name="T57" fmla="*/ 105 h 316"/>
                <a:gd name="T58" fmla="*/ 70 w 316"/>
                <a:gd name="T59" fmla="*/ 105 h 316"/>
                <a:gd name="T60" fmla="*/ 88 w 316"/>
                <a:gd name="T61" fmla="*/ 35 h 316"/>
                <a:gd name="T62" fmla="*/ 105 w 316"/>
                <a:gd name="T63" fmla="*/ 17 h 316"/>
                <a:gd name="T64" fmla="*/ 140 w 316"/>
                <a:gd name="T65" fmla="*/ 0 h 316"/>
                <a:gd name="T66" fmla="*/ 140 w 316"/>
                <a:gd name="T67" fmla="*/ 0 h 316"/>
                <a:gd name="T68" fmla="*/ 211 w 316"/>
                <a:gd name="T69" fmla="*/ 17 h 316"/>
                <a:gd name="T70" fmla="*/ 246 w 316"/>
                <a:gd name="T71" fmla="*/ 17 h 316"/>
                <a:gd name="T72" fmla="*/ 263 w 316"/>
                <a:gd name="T73" fmla="*/ 35 h 316"/>
                <a:gd name="T74" fmla="*/ 263 w 316"/>
                <a:gd name="T75" fmla="*/ 35 h 316"/>
                <a:gd name="T76" fmla="*/ 281 w 316"/>
                <a:gd name="T77" fmla="*/ 70 h 316"/>
                <a:gd name="T78" fmla="*/ 281 w 316"/>
                <a:gd name="T79" fmla="*/ 87 h 316"/>
                <a:gd name="T80" fmla="*/ 298 w 316"/>
                <a:gd name="T81" fmla="*/ 105 h 316"/>
                <a:gd name="T82" fmla="*/ 298 w 316"/>
                <a:gd name="T83" fmla="*/ 105 h 316"/>
                <a:gd name="T84" fmla="*/ 298 w 316"/>
                <a:gd name="T85" fmla="*/ 140 h 316"/>
                <a:gd name="T86" fmla="*/ 316 w 316"/>
                <a:gd name="T87" fmla="*/ 158 h 316"/>
                <a:gd name="T88" fmla="*/ 316 w 316"/>
                <a:gd name="T89" fmla="*/ 158 h 316"/>
                <a:gd name="T90" fmla="*/ 316 w 316"/>
                <a:gd name="T91" fmla="*/ 158 h 316"/>
                <a:gd name="T92" fmla="*/ 316 w 316"/>
                <a:gd name="T93" fmla="*/ 158 h 31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16"/>
                <a:gd name="T142" fmla="*/ 0 h 316"/>
                <a:gd name="T143" fmla="*/ 316 w 316"/>
                <a:gd name="T144" fmla="*/ 316 h 31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16" h="316">
                  <a:moveTo>
                    <a:pt x="316" y="158"/>
                  </a:moveTo>
                  <a:lnTo>
                    <a:pt x="316" y="158"/>
                  </a:lnTo>
                  <a:lnTo>
                    <a:pt x="246" y="193"/>
                  </a:lnTo>
                  <a:lnTo>
                    <a:pt x="211" y="228"/>
                  </a:lnTo>
                  <a:lnTo>
                    <a:pt x="193" y="245"/>
                  </a:lnTo>
                  <a:lnTo>
                    <a:pt x="193" y="281"/>
                  </a:lnTo>
                  <a:lnTo>
                    <a:pt x="193" y="298"/>
                  </a:lnTo>
                  <a:lnTo>
                    <a:pt x="158" y="316"/>
                  </a:lnTo>
                  <a:lnTo>
                    <a:pt x="123" y="298"/>
                  </a:lnTo>
                  <a:lnTo>
                    <a:pt x="105" y="281"/>
                  </a:lnTo>
                  <a:lnTo>
                    <a:pt x="70" y="298"/>
                  </a:lnTo>
                  <a:lnTo>
                    <a:pt x="52" y="316"/>
                  </a:lnTo>
                  <a:lnTo>
                    <a:pt x="0" y="245"/>
                  </a:lnTo>
                  <a:lnTo>
                    <a:pt x="17" y="228"/>
                  </a:lnTo>
                  <a:lnTo>
                    <a:pt x="35" y="210"/>
                  </a:lnTo>
                  <a:lnTo>
                    <a:pt x="17" y="193"/>
                  </a:lnTo>
                  <a:lnTo>
                    <a:pt x="0" y="175"/>
                  </a:lnTo>
                  <a:lnTo>
                    <a:pt x="0" y="158"/>
                  </a:lnTo>
                  <a:lnTo>
                    <a:pt x="35" y="140"/>
                  </a:lnTo>
                  <a:lnTo>
                    <a:pt x="52" y="123"/>
                  </a:lnTo>
                  <a:lnTo>
                    <a:pt x="70" y="105"/>
                  </a:lnTo>
                  <a:lnTo>
                    <a:pt x="88" y="35"/>
                  </a:lnTo>
                  <a:lnTo>
                    <a:pt x="105" y="17"/>
                  </a:lnTo>
                  <a:lnTo>
                    <a:pt x="140" y="0"/>
                  </a:lnTo>
                  <a:lnTo>
                    <a:pt x="211" y="17"/>
                  </a:lnTo>
                  <a:lnTo>
                    <a:pt x="246" y="17"/>
                  </a:lnTo>
                  <a:lnTo>
                    <a:pt x="263" y="35"/>
                  </a:lnTo>
                  <a:lnTo>
                    <a:pt x="281" y="70"/>
                  </a:lnTo>
                  <a:lnTo>
                    <a:pt x="281" y="87"/>
                  </a:lnTo>
                  <a:lnTo>
                    <a:pt x="298" y="105"/>
                  </a:lnTo>
                  <a:lnTo>
                    <a:pt x="298" y="140"/>
                  </a:lnTo>
                  <a:lnTo>
                    <a:pt x="316" y="158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98" name="Freeform 78"/>
            <p:cNvSpPr>
              <a:spLocks/>
            </p:cNvSpPr>
            <p:nvPr/>
          </p:nvSpPr>
          <p:spPr bwMode="auto">
            <a:xfrm>
              <a:off x="5033892" y="5564594"/>
              <a:ext cx="777781" cy="500799"/>
            </a:xfrm>
            <a:custGeom>
              <a:avLst/>
              <a:gdLst>
                <a:gd name="T0" fmla="*/ 106 w 1283"/>
                <a:gd name="T1" fmla="*/ 826 h 826"/>
                <a:gd name="T2" fmla="*/ 316 w 1283"/>
                <a:gd name="T3" fmla="*/ 685 h 826"/>
                <a:gd name="T4" fmla="*/ 369 w 1283"/>
                <a:gd name="T5" fmla="*/ 650 h 826"/>
                <a:gd name="T6" fmla="*/ 580 w 1283"/>
                <a:gd name="T7" fmla="*/ 650 h 826"/>
                <a:gd name="T8" fmla="*/ 685 w 1283"/>
                <a:gd name="T9" fmla="*/ 685 h 826"/>
                <a:gd name="T10" fmla="*/ 703 w 1283"/>
                <a:gd name="T11" fmla="*/ 703 h 826"/>
                <a:gd name="T12" fmla="*/ 720 w 1283"/>
                <a:gd name="T13" fmla="*/ 756 h 826"/>
                <a:gd name="T14" fmla="*/ 843 w 1283"/>
                <a:gd name="T15" fmla="*/ 791 h 826"/>
                <a:gd name="T16" fmla="*/ 931 w 1283"/>
                <a:gd name="T17" fmla="*/ 791 h 826"/>
                <a:gd name="T18" fmla="*/ 1142 w 1283"/>
                <a:gd name="T19" fmla="*/ 773 h 826"/>
                <a:gd name="T20" fmla="*/ 1195 w 1283"/>
                <a:gd name="T21" fmla="*/ 738 h 826"/>
                <a:gd name="T22" fmla="*/ 1212 w 1283"/>
                <a:gd name="T23" fmla="*/ 650 h 826"/>
                <a:gd name="T24" fmla="*/ 1212 w 1283"/>
                <a:gd name="T25" fmla="*/ 633 h 826"/>
                <a:gd name="T26" fmla="*/ 1160 w 1283"/>
                <a:gd name="T27" fmla="*/ 580 h 826"/>
                <a:gd name="T28" fmla="*/ 1142 w 1283"/>
                <a:gd name="T29" fmla="*/ 527 h 826"/>
                <a:gd name="T30" fmla="*/ 1177 w 1283"/>
                <a:gd name="T31" fmla="*/ 404 h 826"/>
                <a:gd name="T32" fmla="*/ 1248 w 1283"/>
                <a:gd name="T33" fmla="*/ 299 h 826"/>
                <a:gd name="T34" fmla="*/ 1212 w 1283"/>
                <a:gd name="T35" fmla="*/ 264 h 826"/>
                <a:gd name="T36" fmla="*/ 1195 w 1283"/>
                <a:gd name="T37" fmla="*/ 229 h 826"/>
                <a:gd name="T38" fmla="*/ 1212 w 1283"/>
                <a:gd name="T39" fmla="*/ 194 h 826"/>
                <a:gd name="T40" fmla="*/ 1212 w 1283"/>
                <a:gd name="T41" fmla="*/ 176 h 826"/>
                <a:gd name="T42" fmla="*/ 1212 w 1283"/>
                <a:gd name="T43" fmla="*/ 141 h 826"/>
                <a:gd name="T44" fmla="*/ 1283 w 1283"/>
                <a:gd name="T45" fmla="*/ 106 h 826"/>
                <a:gd name="T46" fmla="*/ 1248 w 1283"/>
                <a:gd name="T47" fmla="*/ 106 h 826"/>
                <a:gd name="T48" fmla="*/ 1212 w 1283"/>
                <a:gd name="T49" fmla="*/ 88 h 826"/>
                <a:gd name="T50" fmla="*/ 1177 w 1283"/>
                <a:gd name="T51" fmla="*/ 106 h 826"/>
                <a:gd name="T52" fmla="*/ 1125 w 1283"/>
                <a:gd name="T53" fmla="*/ 88 h 826"/>
                <a:gd name="T54" fmla="*/ 1037 w 1283"/>
                <a:gd name="T55" fmla="*/ 36 h 826"/>
                <a:gd name="T56" fmla="*/ 1002 w 1283"/>
                <a:gd name="T57" fmla="*/ 0 h 826"/>
                <a:gd name="T58" fmla="*/ 966 w 1283"/>
                <a:gd name="T59" fmla="*/ 0 h 826"/>
                <a:gd name="T60" fmla="*/ 914 w 1283"/>
                <a:gd name="T61" fmla="*/ 0 h 826"/>
                <a:gd name="T62" fmla="*/ 931 w 1283"/>
                <a:gd name="T63" fmla="*/ 18 h 826"/>
                <a:gd name="T64" fmla="*/ 914 w 1283"/>
                <a:gd name="T65" fmla="*/ 36 h 826"/>
                <a:gd name="T66" fmla="*/ 703 w 1283"/>
                <a:gd name="T67" fmla="*/ 88 h 826"/>
                <a:gd name="T68" fmla="*/ 703 w 1283"/>
                <a:gd name="T69" fmla="*/ 106 h 826"/>
                <a:gd name="T70" fmla="*/ 685 w 1283"/>
                <a:gd name="T71" fmla="*/ 158 h 826"/>
                <a:gd name="T72" fmla="*/ 668 w 1283"/>
                <a:gd name="T73" fmla="*/ 176 h 826"/>
                <a:gd name="T74" fmla="*/ 650 w 1283"/>
                <a:gd name="T75" fmla="*/ 194 h 826"/>
                <a:gd name="T76" fmla="*/ 562 w 1283"/>
                <a:gd name="T77" fmla="*/ 352 h 826"/>
                <a:gd name="T78" fmla="*/ 457 w 1283"/>
                <a:gd name="T79" fmla="*/ 422 h 826"/>
                <a:gd name="T80" fmla="*/ 404 w 1283"/>
                <a:gd name="T81" fmla="*/ 440 h 826"/>
                <a:gd name="T82" fmla="*/ 334 w 1283"/>
                <a:gd name="T83" fmla="*/ 404 h 826"/>
                <a:gd name="T84" fmla="*/ 246 w 1283"/>
                <a:gd name="T85" fmla="*/ 404 h 826"/>
                <a:gd name="T86" fmla="*/ 246 w 1283"/>
                <a:gd name="T87" fmla="*/ 404 h 826"/>
                <a:gd name="T88" fmla="*/ 211 w 1283"/>
                <a:gd name="T89" fmla="*/ 352 h 826"/>
                <a:gd name="T90" fmla="*/ 158 w 1283"/>
                <a:gd name="T91" fmla="*/ 369 h 826"/>
                <a:gd name="T92" fmla="*/ 158 w 1283"/>
                <a:gd name="T93" fmla="*/ 387 h 826"/>
                <a:gd name="T94" fmla="*/ 158 w 1283"/>
                <a:gd name="T95" fmla="*/ 404 h 826"/>
                <a:gd name="T96" fmla="*/ 106 w 1283"/>
                <a:gd name="T97" fmla="*/ 457 h 826"/>
                <a:gd name="T98" fmla="*/ 35 w 1283"/>
                <a:gd name="T99" fmla="*/ 475 h 826"/>
                <a:gd name="T100" fmla="*/ 0 w 1283"/>
                <a:gd name="T101" fmla="*/ 475 h 826"/>
                <a:gd name="T102" fmla="*/ 0 w 1283"/>
                <a:gd name="T103" fmla="*/ 492 h 826"/>
                <a:gd name="T104" fmla="*/ 0 w 1283"/>
                <a:gd name="T105" fmla="*/ 527 h 826"/>
                <a:gd name="T106" fmla="*/ 18 w 1283"/>
                <a:gd name="T107" fmla="*/ 580 h 826"/>
                <a:gd name="T108" fmla="*/ 70 w 1283"/>
                <a:gd name="T109" fmla="*/ 650 h 826"/>
                <a:gd name="T110" fmla="*/ 123 w 1283"/>
                <a:gd name="T111" fmla="*/ 721 h 826"/>
                <a:gd name="T112" fmla="*/ 106 w 1283"/>
                <a:gd name="T113" fmla="*/ 721 h 826"/>
                <a:gd name="T114" fmla="*/ 106 w 1283"/>
                <a:gd name="T115" fmla="*/ 721 h 826"/>
                <a:gd name="T116" fmla="*/ 70 w 1283"/>
                <a:gd name="T117" fmla="*/ 756 h 826"/>
                <a:gd name="T118" fmla="*/ 88 w 1283"/>
                <a:gd name="T119" fmla="*/ 791 h 826"/>
                <a:gd name="T120" fmla="*/ 106 w 1283"/>
                <a:gd name="T121" fmla="*/ 826 h 826"/>
                <a:gd name="T122" fmla="*/ 106 w 1283"/>
                <a:gd name="T123" fmla="*/ 826 h 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83"/>
                <a:gd name="T187" fmla="*/ 0 h 826"/>
                <a:gd name="T188" fmla="*/ 1283 w 1283"/>
                <a:gd name="T189" fmla="*/ 826 h 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83" h="826">
                  <a:moveTo>
                    <a:pt x="106" y="826"/>
                  </a:moveTo>
                  <a:lnTo>
                    <a:pt x="106" y="826"/>
                  </a:lnTo>
                  <a:lnTo>
                    <a:pt x="246" y="721"/>
                  </a:lnTo>
                  <a:lnTo>
                    <a:pt x="316" y="685"/>
                  </a:lnTo>
                  <a:lnTo>
                    <a:pt x="369" y="650"/>
                  </a:lnTo>
                  <a:lnTo>
                    <a:pt x="475" y="633"/>
                  </a:lnTo>
                  <a:lnTo>
                    <a:pt x="580" y="650"/>
                  </a:lnTo>
                  <a:lnTo>
                    <a:pt x="668" y="668"/>
                  </a:lnTo>
                  <a:lnTo>
                    <a:pt x="685" y="685"/>
                  </a:lnTo>
                  <a:lnTo>
                    <a:pt x="703" y="703"/>
                  </a:lnTo>
                  <a:lnTo>
                    <a:pt x="703" y="738"/>
                  </a:lnTo>
                  <a:lnTo>
                    <a:pt x="720" y="756"/>
                  </a:lnTo>
                  <a:lnTo>
                    <a:pt x="773" y="791"/>
                  </a:lnTo>
                  <a:lnTo>
                    <a:pt x="843" y="791"/>
                  </a:lnTo>
                  <a:lnTo>
                    <a:pt x="931" y="791"/>
                  </a:lnTo>
                  <a:lnTo>
                    <a:pt x="1054" y="791"/>
                  </a:lnTo>
                  <a:lnTo>
                    <a:pt x="1142" y="773"/>
                  </a:lnTo>
                  <a:lnTo>
                    <a:pt x="1177" y="756"/>
                  </a:lnTo>
                  <a:lnTo>
                    <a:pt x="1195" y="738"/>
                  </a:lnTo>
                  <a:lnTo>
                    <a:pt x="1212" y="703"/>
                  </a:lnTo>
                  <a:lnTo>
                    <a:pt x="1212" y="650"/>
                  </a:lnTo>
                  <a:lnTo>
                    <a:pt x="1212" y="633"/>
                  </a:lnTo>
                  <a:lnTo>
                    <a:pt x="1177" y="598"/>
                  </a:lnTo>
                  <a:lnTo>
                    <a:pt x="1160" y="580"/>
                  </a:lnTo>
                  <a:lnTo>
                    <a:pt x="1142" y="527"/>
                  </a:lnTo>
                  <a:lnTo>
                    <a:pt x="1160" y="457"/>
                  </a:lnTo>
                  <a:lnTo>
                    <a:pt x="1177" y="404"/>
                  </a:lnTo>
                  <a:lnTo>
                    <a:pt x="1248" y="299"/>
                  </a:lnTo>
                  <a:lnTo>
                    <a:pt x="1230" y="281"/>
                  </a:lnTo>
                  <a:lnTo>
                    <a:pt x="1212" y="264"/>
                  </a:lnTo>
                  <a:lnTo>
                    <a:pt x="1195" y="229"/>
                  </a:lnTo>
                  <a:lnTo>
                    <a:pt x="1212" y="194"/>
                  </a:lnTo>
                  <a:lnTo>
                    <a:pt x="1212" y="176"/>
                  </a:lnTo>
                  <a:lnTo>
                    <a:pt x="1212" y="141"/>
                  </a:lnTo>
                  <a:lnTo>
                    <a:pt x="1248" y="141"/>
                  </a:lnTo>
                  <a:lnTo>
                    <a:pt x="1283" y="106"/>
                  </a:lnTo>
                  <a:lnTo>
                    <a:pt x="1248" y="106"/>
                  </a:lnTo>
                  <a:lnTo>
                    <a:pt x="1212" y="88"/>
                  </a:lnTo>
                  <a:lnTo>
                    <a:pt x="1195" y="88"/>
                  </a:lnTo>
                  <a:lnTo>
                    <a:pt x="1177" y="106"/>
                  </a:lnTo>
                  <a:lnTo>
                    <a:pt x="1125" y="88"/>
                  </a:lnTo>
                  <a:lnTo>
                    <a:pt x="1089" y="71"/>
                  </a:lnTo>
                  <a:lnTo>
                    <a:pt x="1037" y="36"/>
                  </a:lnTo>
                  <a:lnTo>
                    <a:pt x="1002" y="0"/>
                  </a:lnTo>
                  <a:lnTo>
                    <a:pt x="984" y="0"/>
                  </a:lnTo>
                  <a:lnTo>
                    <a:pt x="966" y="0"/>
                  </a:lnTo>
                  <a:lnTo>
                    <a:pt x="914" y="0"/>
                  </a:lnTo>
                  <a:lnTo>
                    <a:pt x="931" y="18"/>
                  </a:lnTo>
                  <a:lnTo>
                    <a:pt x="914" y="36"/>
                  </a:lnTo>
                  <a:lnTo>
                    <a:pt x="808" y="53"/>
                  </a:lnTo>
                  <a:lnTo>
                    <a:pt x="703" y="88"/>
                  </a:lnTo>
                  <a:lnTo>
                    <a:pt x="703" y="106"/>
                  </a:lnTo>
                  <a:lnTo>
                    <a:pt x="703" y="123"/>
                  </a:lnTo>
                  <a:lnTo>
                    <a:pt x="685" y="158"/>
                  </a:lnTo>
                  <a:lnTo>
                    <a:pt x="668" y="176"/>
                  </a:lnTo>
                  <a:lnTo>
                    <a:pt x="650" y="194"/>
                  </a:lnTo>
                  <a:lnTo>
                    <a:pt x="615" y="281"/>
                  </a:lnTo>
                  <a:lnTo>
                    <a:pt x="562" y="352"/>
                  </a:lnTo>
                  <a:lnTo>
                    <a:pt x="492" y="404"/>
                  </a:lnTo>
                  <a:lnTo>
                    <a:pt x="457" y="422"/>
                  </a:lnTo>
                  <a:lnTo>
                    <a:pt x="404" y="440"/>
                  </a:lnTo>
                  <a:lnTo>
                    <a:pt x="369" y="422"/>
                  </a:lnTo>
                  <a:lnTo>
                    <a:pt x="334" y="404"/>
                  </a:lnTo>
                  <a:lnTo>
                    <a:pt x="246" y="404"/>
                  </a:lnTo>
                  <a:lnTo>
                    <a:pt x="211" y="352"/>
                  </a:lnTo>
                  <a:lnTo>
                    <a:pt x="193" y="352"/>
                  </a:lnTo>
                  <a:lnTo>
                    <a:pt x="158" y="369"/>
                  </a:lnTo>
                  <a:lnTo>
                    <a:pt x="158" y="387"/>
                  </a:lnTo>
                  <a:lnTo>
                    <a:pt x="158" y="404"/>
                  </a:lnTo>
                  <a:lnTo>
                    <a:pt x="141" y="440"/>
                  </a:lnTo>
                  <a:lnTo>
                    <a:pt x="106" y="457"/>
                  </a:lnTo>
                  <a:lnTo>
                    <a:pt x="70" y="475"/>
                  </a:lnTo>
                  <a:lnTo>
                    <a:pt x="35" y="475"/>
                  </a:lnTo>
                  <a:lnTo>
                    <a:pt x="0" y="475"/>
                  </a:lnTo>
                  <a:lnTo>
                    <a:pt x="0" y="492"/>
                  </a:lnTo>
                  <a:lnTo>
                    <a:pt x="0" y="527"/>
                  </a:lnTo>
                  <a:lnTo>
                    <a:pt x="18" y="580"/>
                  </a:lnTo>
                  <a:lnTo>
                    <a:pt x="35" y="615"/>
                  </a:lnTo>
                  <a:lnTo>
                    <a:pt x="70" y="650"/>
                  </a:lnTo>
                  <a:lnTo>
                    <a:pt x="106" y="668"/>
                  </a:lnTo>
                  <a:lnTo>
                    <a:pt x="123" y="721"/>
                  </a:lnTo>
                  <a:lnTo>
                    <a:pt x="106" y="721"/>
                  </a:lnTo>
                  <a:lnTo>
                    <a:pt x="70" y="738"/>
                  </a:lnTo>
                  <a:lnTo>
                    <a:pt x="70" y="756"/>
                  </a:lnTo>
                  <a:lnTo>
                    <a:pt x="88" y="791"/>
                  </a:lnTo>
                  <a:lnTo>
                    <a:pt x="106" y="826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99" name="Freeform 79"/>
            <p:cNvSpPr>
              <a:spLocks/>
            </p:cNvSpPr>
            <p:nvPr/>
          </p:nvSpPr>
          <p:spPr bwMode="auto">
            <a:xfrm>
              <a:off x="4959327" y="5362698"/>
              <a:ext cx="298261" cy="521413"/>
            </a:xfrm>
            <a:custGeom>
              <a:avLst/>
              <a:gdLst>
                <a:gd name="T0" fmla="*/ 123 w 492"/>
                <a:gd name="T1" fmla="*/ 0 h 860"/>
                <a:gd name="T2" fmla="*/ 123 w 492"/>
                <a:gd name="T3" fmla="*/ 0 h 860"/>
                <a:gd name="T4" fmla="*/ 88 w 492"/>
                <a:gd name="T5" fmla="*/ 35 h 860"/>
                <a:gd name="T6" fmla="*/ 106 w 492"/>
                <a:gd name="T7" fmla="*/ 70 h 860"/>
                <a:gd name="T8" fmla="*/ 123 w 492"/>
                <a:gd name="T9" fmla="*/ 105 h 860"/>
                <a:gd name="T10" fmla="*/ 88 w 492"/>
                <a:gd name="T11" fmla="*/ 228 h 860"/>
                <a:gd name="T12" fmla="*/ 88 w 492"/>
                <a:gd name="T13" fmla="*/ 246 h 860"/>
                <a:gd name="T14" fmla="*/ 123 w 492"/>
                <a:gd name="T15" fmla="*/ 246 h 860"/>
                <a:gd name="T16" fmla="*/ 176 w 492"/>
                <a:gd name="T17" fmla="*/ 246 h 860"/>
                <a:gd name="T18" fmla="*/ 193 w 492"/>
                <a:gd name="T19" fmla="*/ 281 h 860"/>
                <a:gd name="T20" fmla="*/ 176 w 492"/>
                <a:gd name="T21" fmla="*/ 316 h 860"/>
                <a:gd name="T22" fmla="*/ 141 w 492"/>
                <a:gd name="T23" fmla="*/ 386 h 860"/>
                <a:gd name="T24" fmla="*/ 123 w 492"/>
                <a:gd name="T25" fmla="*/ 421 h 860"/>
                <a:gd name="T26" fmla="*/ 158 w 492"/>
                <a:gd name="T27" fmla="*/ 562 h 860"/>
                <a:gd name="T28" fmla="*/ 158 w 492"/>
                <a:gd name="T29" fmla="*/ 597 h 860"/>
                <a:gd name="T30" fmla="*/ 70 w 492"/>
                <a:gd name="T31" fmla="*/ 667 h 860"/>
                <a:gd name="T32" fmla="*/ 0 w 492"/>
                <a:gd name="T33" fmla="*/ 720 h 860"/>
                <a:gd name="T34" fmla="*/ 0 w 492"/>
                <a:gd name="T35" fmla="*/ 755 h 860"/>
                <a:gd name="T36" fmla="*/ 18 w 492"/>
                <a:gd name="T37" fmla="*/ 773 h 860"/>
                <a:gd name="T38" fmla="*/ 18 w 492"/>
                <a:gd name="T39" fmla="*/ 790 h 860"/>
                <a:gd name="T40" fmla="*/ 18 w 492"/>
                <a:gd name="T41" fmla="*/ 790 h 860"/>
                <a:gd name="T42" fmla="*/ 0 w 492"/>
                <a:gd name="T43" fmla="*/ 825 h 860"/>
                <a:gd name="T44" fmla="*/ 70 w 492"/>
                <a:gd name="T45" fmla="*/ 860 h 860"/>
                <a:gd name="T46" fmla="*/ 88 w 492"/>
                <a:gd name="T47" fmla="*/ 843 h 860"/>
                <a:gd name="T48" fmla="*/ 106 w 492"/>
                <a:gd name="T49" fmla="*/ 825 h 860"/>
                <a:gd name="T50" fmla="*/ 158 w 492"/>
                <a:gd name="T51" fmla="*/ 808 h 860"/>
                <a:gd name="T52" fmla="*/ 158 w 492"/>
                <a:gd name="T53" fmla="*/ 808 h 860"/>
                <a:gd name="T54" fmla="*/ 229 w 492"/>
                <a:gd name="T55" fmla="*/ 790 h 860"/>
                <a:gd name="T56" fmla="*/ 281 w 492"/>
                <a:gd name="T57" fmla="*/ 737 h 860"/>
                <a:gd name="T58" fmla="*/ 281 w 492"/>
                <a:gd name="T59" fmla="*/ 720 h 860"/>
                <a:gd name="T60" fmla="*/ 281 w 492"/>
                <a:gd name="T61" fmla="*/ 702 h 860"/>
                <a:gd name="T62" fmla="*/ 334 w 492"/>
                <a:gd name="T63" fmla="*/ 702 h 860"/>
                <a:gd name="T64" fmla="*/ 352 w 492"/>
                <a:gd name="T65" fmla="*/ 650 h 860"/>
                <a:gd name="T66" fmla="*/ 422 w 492"/>
                <a:gd name="T67" fmla="*/ 579 h 860"/>
                <a:gd name="T68" fmla="*/ 439 w 492"/>
                <a:gd name="T69" fmla="*/ 544 h 860"/>
                <a:gd name="T70" fmla="*/ 457 w 492"/>
                <a:gd name="T71" fmla="*/ 491 h 860"/>
                <a:gd name="T72" fmla="*/ 475 w 492"/>
                <a:gd name="T73" fmla="*/ 474 h 860"/>
                <a:gd name="T74" fmla="*/ 492 w 492"/>
                <a:gd name="T75" fmla="*/ 439 h 860"/>
                <a:gd name="T76" fmla="*/ 475 w 492"/>
                <a:gd name="T77" fmla="*/ 386 h 860"/>
                <a:gd name="T78" fmla="*/ 439 w 492"/>
                <a:gd name="T79" fmla="*/ 316 h 860"/>
                <a:gd name="T80" fmla="*/ 387 w 492"/>
                <a:gd name="T81" fmla="*/ 175 h 860"/>
                <a:gd name="T82" fmla="*/ 334 w 492"/>
                <a:gd name="T83" fmla="*/ 105 h 860"/>
                <a:gd name="T84" fmla="*/ 316 w 492"/>
                <a:gd name="T85" fmla="*/ 88 h 860"/>
                <a:gd name="T86" fmla="*/ 281 w 492"/>
                <a:gd name="T87" fmla="*/ 70 h 860"/>
                <a:gd name="T88" fmla="*/ 211 w 492"/>
                <a:gd name="T89" fmla="*/ 88 h 860"/>
                <a:gd name="T90" fmla="*/ 158 w 492"/>
                <a:gd name="T91" fmla="*/ 52 h 860"/>
                <a:gd name="T92" fmla="*/ 123 w 492"/>
                <a:gd name="T93" fmla="*/ 0 h 860"/>
                <a:gd name="T94" fmla="*/ 123 w 492"/>
                <a:gd name="T95" fmla="*/ 0 h 86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92"/>
                <a:gd name="T145" fmla="*/ 0 h 860"/>
                <a:gd name="T146" fmla="*/ 492 w 492"/>
                <a:gd name="T147" fmla="*/ 860 h 86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92" h="860">
                  <a:moveTo>
                    <a:pt x="123" y="0"/>
                  </a:moveTo>
                  <a:lnTo>
                    <a:pt x="123" y="0"/>
                  </a:lnTo>
                  <a:lnTo>
                    <a:pt x="106" y="17"/>
                  </a:lnTo>
                  <a:lnTo>
                    <a:pt x="88" y="35"/>
                  </a:lnTo>
                  <a:lnTo>
                    <a:pt x="106" y="70"/>
                  </a:lnTo>
                  <a:lnTo>
                    <a:pt x="123" y="105"/>
                  </a:lnTo>
                  <a:lnTo>
                    <a:pt x="106" y="175"/>
                  </a:lnTo>
                  <a:lnTo>
                    <a:pt x="88" y="228"/>
                  </a:lnTo>
                  <a:lnTo>
                    <a:pt x="88" y="246"/>
                  </a:lnTo>
                  <a:lnTo>
                    <a:pt x="123" y="246"/>
                  </a:lnTo>
                  <a:lnTo>
                    <a:pt x="176" y="246"/>
                  </a:lnTo>
                  <a:lnTo>
                    <a:pt x="193" y="263"/>
                  </a:lnTo>
                  <a:lnTo>
                    <a:pt x="193" y="281"/>
                  </a:lnTo>
                  <a:lnTo>
                    <a:pt x="176" y="316"/>
                  </a:lnTo>
                  <a:lnTo>
                    <a:pt x="158" y="351"/>
                  </a:lnTo>
                  <a:lnTo>
                    <a:pt x="141" y="386"/>
                  </a:lnTo>
                  <a:lnTo>
                    <a:pt x="123" y="421"/>
                  </a:lnTo>
                  <a:lnTo>
                    <a:pt x="141" y="491"/>
                  </a:lnTo>
                  <a:lnTo>
                    <a:pt x="158" y="562"/>
                  </a:lnTo>
                  <a:lnTo>
                    <a:pt x="158" y="597"/>
                  </a:lnTo>
                  <a:lnTo>
                    <a:pt x="141" y="614"/>
                  </a:lnTo>
                  <a:lnTo>
                    <a:pt x="70" y="667"/>
                  </a:lnTo>
                  <a:lnTo>
                    <a:pt x="18" y="702"/>
                  </a:lnTo>
                  <a:lnTo>
                    <a:pt x="0" y="720"/>
                  </a:lnTo>
                  <a:lnTo>
                    <a:pt x="0" y="755"/>
                  </a:lnTo>
                  <a:lnTo>
                    <a:pt x="0" y="773"/>
                  </a:lnTo>
                  <a:lnTo>
                    <a:pt x="18" y="773"/>
                  </a:lnTo>
                  <a:lnTo>
                    <a:pt x="18" y="790"/>
                  </a:lnTo>
                  <a:lnTo>
                    <a:pt x="0" y="825"/>
                  </a:lnTo>
                  <a:lnTo>
                    <a:pt x="18" y="860"/>
                  </a:lnTo>
                  <a:lnTo>
                    <a:pt x="70" y="860"/>
                  </a:lnTo>
                  <a:lnTo>
                    <a:pt x="88" y="843"/>
                  </a:lnTo>
                  <a:lnTo>
                    <a:pt x="106" y="825"/>
                  </a:lnTo>
                  <a:lnTo>
                    <a:pt x="123" y="808"/>
                  </a:lnTo>
                  <a:lnTo>
                    <a:pt x="158" y="808"/>
                  </a:lnTo>
                  <a:lnTo>
                    <a:pt x="193" y="808"/>
                  </a:lnTo>
                  <a:lnTo>
                    <a:pt x="229" y="790"/>
                  </a:lnTo>
                  <a:lnTo>
                    <a:pt x="264" y="773"/>
                  </a:lnTo>
                  <a:lnTo>
                    <a:pt x="281" y="737"/>
                  </a:lnTo>
                  <a:lnTo>
                    <a:pt x="281" y="720"/>
                  </a:lnTo>
                  <a:lnTo>
                    <a:pt x="281" y="702"/>
                  </a:lnTo>
                  <a:lnTo>
                    <a:pt x="316" y="685"/>
                  </a:lnTo>
                  <a:lnTo>
                    <a:pt x="334" y="702"/>
                  </a:lnTo>
                  <a:lnTo>
                    <a:pt x="352" y="650"/>
                  </a:lnTo>
                  <a:lnTo>
                    <a:pt x="387" y="614"/>
                  </a:lnTo>
                  <a:lnTo>
                    <a:pt x="422" y="579"/>
                  </a:lnTo>
                  <a:lnTo>
                    <a:pt x="439" y="544"/>
                  </a:lnTo>
                  <a:lnTo>
                    <a:pt x="457" y="527"/>
                  </a:lnTo>
                  <a:lnTo>
                    <a:pt x="457" y="491"/>
                  </a:lnTo>
                  <a:lnTo>
                    <a:pt x="475" y="474"/>
                  </a:lnTo>
                  <a:lnTo>
                    <a:pt x="492" y="439"/>
                  </a:lnTo>
                  <a:lnTo>
                    <a:pt x="492" y="404"/>
                  </a:lnTo>
                  <a:lnTo>
                    <a:pt x="475" y="386"/>
                  </a:lnTo>
                  <a:lnTo>
                    <a:pt x="439" y="316"/>
                  </a:lnTo>
                  <a:lnTo>
                    <a:pt x="422" y="246"/>
                  </a:lnTo>
                  <a:lnTo>
                    <a:pt x="387" y="175"/>
                  </a:lnTo>
                  <a:lnTo>
                    <a:pt x="369" y="140"/>
                  </a:lnTo>
                  <a:lnTo>
                    <a:pt x="334" y="105"/>
                  </a:lnTo>
                  <a:lnTo>
                    <a:pt x="316" y="88"/>
                  </a:lnTo>
                  <a:lnTo>
                    <a:pt x="281" y="70"/>
                  </a:lnTo>
                  <a:lnTo>
                    <a:pt x="211" y="88"/>
                  </a:lnTo>
                  <a:lnTo>
                    <a:pt x="193" y="70"/>
                  </a:lnTo>
                  <a:lnTo>
                    <a:pt x="158" y="52"/>
                  </a:lnTo>
                  <a:lnTo>
                    <a:pt x="123" y="0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00" name="Freeform 80"/>
            <p:cNvSpPr>
              <a:spLocks/>
            </p:cNvSpPr>
            <p:nvPr/>
          </p:nvSpPr>
          <p:spPr bwMode="auto">
            <a:xfrm>
              <a:off x="965545" y="5064401"/>
              <a:ext cx="138825" cy="202502"/>
            </a:xfrm>
            <a:custGeom>
              <a:avLst/>
              <a:gdLst>
                <a:gd name="T0" fmla="*/ 229 w 229"/>
                <a:gd name="T1" fmla="*/ 193 h 334"/>
                <a:gd name="T2" fmla="*/ 229 w 229"/>
                <a:gd name="T3" fmla="*/ 193 h 334"/>
                <a:gd name="T4" fmla="*/ 229 w 229"/>
                <a:gd name="T5" fmla="*/ 176 h 334"/>
                <a:gd name="T6" fmla="*/ 229 w 229"/>
                <a:gd name="T7" fmla="*/ 158 h 334"/>
                <a:gd name="T8" fmla="*/ 229 w 229"/>
                <a:gd name="T9" fmla="*/ 158 h 334"/>
                <a:gd name="T10" fmla="*/ 211 w 229"/>
                <a:gd name="T11" fmla="*/ 123 h 334"/>
                <a:gd name="T12" fmla="*/ 193 w 229"/>
                <a:gd name="T13" fmla="*/ 88 h 334"/>
                <a:gd name="T14" fmla="*/ 158 w 229"/>
                <a:gd name="T15" fmla="*/ 53 h 334"/>
                <a:gd name="T16" fmla="*/ 123 w 229"/>
                <a:gd name="T17" fmla="*/ 35 h 334"/>
                <a:gd name="T18" fmla="*/ 123 w 229"/>
                <a:gd name="T19" fmla="*/ 35 h 334"/>
                <a:gd name="T20" fmla="*/ 71 w 229"/>
                <a:gd name="T21" fmla="*/ 17 h 334"/>
                <a:gd name="T22" fmla="*/ 35 w 229"/>
                <a:gd name="T23" fmla="*/ 0 h 334"/>
                <a:gd name="T24" fmla="*/ 35 w 229"/>
                <a:gd name="T25" fmla="*/ 0 h 334"/>
                <a:gd name="T26" fmla="*/ 18 w 229"/>
                <a:gd name="T27" fmla="*/ 0 h 334"/>
                <a:gd name="T28" fmla="*/ 18 w 229"/>
                <a:gd name="T29" fmla="*/ 35 h 334"/>
                <a:gd name="T30" fmla="*/ 18 w 229"/>
                <a:gd name="T31" fmla="*/ 35 h 334"/>
                <a:gd name="T32" fmla="*/ 18 w 229"/>
                <a:gd name="T33" fmla="*/ 35 h 334"/>
                <a:gd name="T34" fmla="*/ 53 w 229"/>
                <a:gd name="T35" fmla="*/ 70 h 334"/>
                <a:gd name="T36" fmla="*/ 71 w 229"/>
                <a:gd name="T37" fmla="*/ 88 h 334"/>
                <a:gd name="T38" fmla="*/ 106 w 229"/>
                <a:gd name="T39" fmla="*/ 88 h 334"/>
                <a:gd name="T40" fmla="*/ 106 w 229"/>
                <a:gd name="T41" fmla="*/ 88 h 334"/>
                <a:gd name="T42" fmla="*/ 123 w 229"/>
                <a:gd name="T43" fmla="*/ 88 h 334"/>
                <a:gd name="T44" fmla="*/ 123 w 229"/>
                <a:gd name="T45" fmla="*/ 88 h 334"/>
                <a:gd name="T46" fmla="*/ 141 w 229"/>
                <a:gd name="T47" fmla="*/ 105 h 334"/>
                <a:gd name="T48" fmla="*/ 158 w 229"/>
                <a:gd name="T49" fmla="*/ 123 h 334"/>
                <a:gd name="T50" fmla="*/ 158 w 229"/>
                <a:gd name="T51" fmla="*/ 123 h 334"/>
                <a:gd name="T52" fmla="*/ 123 w 229"/>
                <a:gd name="T53" fmla="*/ 158 h 334"/>
                <a:gd name="T54" fmla="*/ 71 w 229"/>
                <a:gd name="T55" fmla="*/ 176 h 334"/>
                <a:gd name="T56" fmla="*/ 71 w 229"/>
                <a:gd name="T57" fmla="*/ 176 h 334"/>
                <a:gd name="T58" fmla="*/ 71 w 229"/>
                <a:gd name="T59" fmla="*/ 228 h 334"/>
                <a:gd name="T60" fmla="*/ 71 w 229"/>
                <a:gd name="T61" fmla="*/ 246 h 334"/>
                <a:gd name="T62" fmla="*/ 53 w 229"/>
                <a:gd name="T63" fmla="*/ 263 h 334"/>
                <a:gd name="T64" fmla="*/ 53 w 229"/>
                <a:gd name="T65" fmla="*/ 263 h 334"/>
                <a:gd name="T66" fmla="*/ 35 w 229"/>
                <a:gd name="T67" fmla="*/ 246 h 334"/>
                <a:gd name="T68" fmla="*/ 35 w 229"/>
                <a:gd name="T69" fmla="*/ 228 h 334"/>
                <a:gd name="T70" fmla="*/ 35 w 229"/>
                <a:gd name="T71" fmla="*/ 228 h 334"/>
                <a:gd name="T72" fmla="*/ 0 w 229"/>
                <a:gd name="T73" fmla="*/ 246 h 334"/>
                <a:gd name="T74" fmla="*/ 0 w 229"/>
                <a:gd name="T75" fmla="*/ 263 h 334"/>
                <a:gd name="T76" fmla="*/ 0 w 229"/>
                <a:gd name="T77" fmla="*/ 263 h 334"/>
                <a:gd name="T78" fmla="*/ 0 w 229"/>
                <a:gd name="T79" fmla="*/ 316 h 334"/>
                <a:gd name="T80" fmla="*/ 18 w 229"/>
                <a:gd name="T81" fmla="*/ 334 h 334"/>
                <a:gd name="T82" fmla="*/ 53 w 229"/>
                <a:gd name="T83" fmla="*/ 334 h 334"/>
                <a:gd name="T84" fmla="*/ 53 w 229"/>
                <a:gd name="T85" fmla="*/ 334 h 334"/>
                <a:gd name="T86" fmla="*/ 88 w 229"/>
                <a:gd name="T87" fmla="*/ 316 h 334"/>
                <a:gd name="T88" fmla="*/ 106 w 229"/>
                <a:gd name="T89" fmla="*/ 281 h 334"/>
                <a:gd name="T90" fmla="*/ 158 w 229"/>
                <a:gd name="T91" fmla="*/ 193 h 334"/>
                <a:gd name="T92" fmla="*/ 158 w 229"/>
                <a:gd name="T93" fmla="*/ 193 h 334"/>
                <a:gd name="T94" fmla="*/ 176 w 229"/>
                <a:gd name="T95" fmla="*/ 193 h 334"/>
                <a:gd name="T96" fmla="*/ 176 w 229"/>
                <a:gd name="T97" fmla="*/ 193 h 334"/>
                <a:gd name="T98" fmla="*/ 176 w 229"/>
                <a:gd name="T99" fmla="*/ 246 h 334"/>
                <a:gd name="T100" fmla="*/ 193 w 229"/>
                <a:gd name="T101" fmla="*/ 263 h 334"/>
                <a:gd name="T102" fmla="*/ 193 w 229"/>
                <a:gd name="T103" fmla="*/ 263 h 334"/>
                <a:gd name="T104" fmla="*/ 211 w 229"/>
                <a:gd name="T105" fmla="*/ 246 h 334"/>
                <a:gd name="T106" fmla="*/ 211 w 229"/>
                <a:gd name="T107" fmla="*/ 228 h 334"/>
                <a:gd name="T108" fmla="*/ 211 w 229"/>
                <a:gd name="T109" fmla="*/ 211 h 334"/>
                <a:gd name="T110" fmla="*/ 229 w 229"/>
                <a:gd name="T111" fmla="*/ 193 h 334"/>
                <a:gd name="T112" fmla="*/ 229 w 229"/>
                <a:gd name="T113" fmla="*/ 193 h 334"/>
                <a:gd name="T114" fmla="*/ 229 w 229"/>
                <a:gd name="T115" fmla="*/ 193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29"/>
                <a:gd name="T175" fmla="*/ 0 h 334"/>
                <a:gd name="T176" fmla="*/ 229 w 22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29" h="334">
                  <a:moveTo>
                    <a:pt x="229" y="193"/>
                  </a:moveTo>
                  <a:lnTo>
                    <a:pt x="229" y="193"/>
                  </a:lnTo>
                  <a:lnTo>
                    <a:pt x="229" y="176"/>
                  </a:lnTo>
                  <a:lnTo>
                    <a:pt x="229" y="158"/>
                  </a:lnTo>
                  <a:lnTo>
                    <a:pt x="211" y="123"/>
                  </a:lnTo>
                  <a:lnTo>
                    <a:pt x="193" y="88"/>
                  </a:lnTo>
                  <a:lnTo>
                    <a:pt x="158" y="53"/>
                  </a:lnTo>
                  <a:lnTo>
                    <a:pt x="123" y="35"/>
                  </a:lnTo>
                  <a:lnTo>
                    <a:pt x="71" y="17"/>
                  </a:lnTo>
                  <a:lnTo>
                    <a:pt x="35" y="0"/>
                  </a:lnTo>
                  <a:lnTo>
                    <a:pt x="18" y="0"/>
                  </a:lnTo>
                  <a:lnTo>
                    <a:pt x="18" y="35"/>
                  </a:lnTo>
                  <a:lnTo>
                    <a:pt x="53" y="70"/>
                  </a:lnTo>
                  <a:lnTo>
                    <a:pt x="71" y="88"/>
                  </a:lnTo>
                  <a:lnTo>
                    <a:pt x="106" y="88"/>
                  </a:lnTo>
                  <a:lnTo>
                    <a:pt x="123" y="88"/>
                  </a:lnTo>
                  <a:lnTo>
                    <a:pt x="141" y="105"/>
                  </a:lnTo>
                  <a:lnTo>
                    <a:pt x="158" y="123"/>
                  </a:lnTo>
                  <a:lnTo>
                    <a:pt x="123" y="158"/>
                  </a:lnTo>
                  <a:lnTo>
                    <a:pt x="71" y="176"/>
                  </a:lnTo>
                  <a:lnTo>
                    <a:pt x="71" y="228"/>
                  </a:lnTo>
                  <a:lnTo>
                    <a:pt x="71" y="246"/>
                  </a:lnTo>
                  <a:lnTo>
                    <a:pt x="53" y="263"/>
                  </a:lnTo>
                  <a:lnTo>
                    <a:pt x="35" y="246"/>
                  </a:lnTo>
                  <a:lnTo>
                    <a:pt x="35" y="228"/>
                  </a:lnTo>
                  <a:lnTo>
                    <a:pt x="0" y="246"/>
                  </a:lnTo>
                  <a:lnTo>
                    <a:pt x="0" y="263"/>
                  </a:lnTo>
                  <a:lnTo>
                    <a:pt x="0" y="316"/>
                  </a:lnTo>
                  <a:lnTo>
                    <a:pt x="18" y="334"/>
                  </a:lnTo>
                  <a:lnTo>
                    <a:pt x="53" y="334"/>
                  </a:lnTo>
                  <a:lnTo>
                    <a:pt x="88" y="316"/>
                  </a:lnTo>
                  <a:lnTo>
                    <a:pt x="106" y="281"/>
                  </a:lnTo>
                  <a:lnTo>
                    <a:pt x="158" y="193"/>
                  </a:lnTo>
                  <a:lnTo>
                    <a:pt x="176" y="193"/>
                  </a:lnTo>
                  <a:lnTo>
                    <a:pt x="176" y="246"/>
                  </a:lnTo>
                  <a:lnTo>
                    <a:pt x="193" y="263"/>
                  </a:lnTo>
                  <a:lnTo>
                    <a:pt x="211" y="246"/>
                  </a:lnTo>
                  <a:lnTo>
                    <a:pt x="211" y="228"/>
                  </a:lnTo>
                  <a:lnTo>
                    <a:pt x="211" y="211"/>
                  </a:lnTo>
                  <a:lnTo>
                    <a:pt x="229" y="193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01" name="Freeform 81"/>
            <p:cNvSpPr>
              <a:spLocks/>
            </p:cNvSpPr>
            <p:nvPr/>
          </p:nvSpPr>
          <p:spPr bwMode="auto">
            <a:xfrm>
              <a:off x="1263805" y="5053488"/>
              <a:ext cx="447391" cy="500799"/>
            </a:xfrm>
            <a:custGeom>
              <a:avLst/>
              <a:gdLst>
                <a:gd name="T0" fmla="*/ 404 w 738"/>
                <a:gd name="T1" fmla="*/ 88 h 826"/>
                <a:gd name="T2" fmla="*/ 422 w 738"/>
                <a:gd name="T3" fmla="*/ 106 h 826"/>
                <a:gd name="T4" fmla="*/ 439 w 738"/>
                <a:gd name="T5" fmla="*/ 88 h 826"/>
                <a:gd name="T6" fmla="*/ 474 w 738"/>
                <a:gd name="T7" fmla="*/ 88 h 826"/>
                <a:gd name="T8" fmla="*/ 474 w 738"/>
                <a:gd name="T9" fmla="*/ 106 h 826"/>
                <a:gd name="T10" fmla="*/ 334 w 738"/>
                <a:gd name="T11" fmla="*/ 211 h 826"/>
                <a:gd name="T12" fmla="*/ 316 w 738"/>
                <a:gd name="T13" fmla="*/ 246 h 826"/>
                <a:gd name="T14" fmla="*/ 299 w 738"/>
                <a:gd name="T15" fmla="*/ 281 h 826"/>
                <a:gd name="T16" fmla="*/ 246 w 738"/>
                <a:gd name="T17" fmla="*/ 264 h 826"/>
                <a:gd name="T18" fmla="*/ 211 w 738"/>
                <a:gd name="T19" fmla="*/ 211 h 826"/>
                <a:gd name="T20" fmla="*/ 141 w 738"/>
                <a:gd name="T21" fmla="*/ 123 h 826"/>
                <a:gd name="T22" fmla="*/ 106 w 738"/>
                <a:gd name="T23" fmla="*/ 88 h 826"/>
                <a:gd name="T24" fmla="*/ 106 w 738"/>
                <a:gd name="T25" fmla="*/ 106 h 826"/>
                <a:gd name="T26" fmla="*/ 53 w 738"/>
                <a:gd name="T27" fmla="*/ 106 h 826"/>
                <a:gd name="T28" fmla="*/ 18 w 738"/>
                <a:gd name="T29" fmla="*/ 106 h 826"/>
                <a:gd name="T30" fmla="*/ 18 w 738"/>
                <a:gd name="T31" fmla="*/ 158 h 826"/>
                <a:gd name="T32" fmla="*/ 53 w 738"/>
                <a:gd name="T33" fmla="*/ 176 h 826"/>
                <a:gd name="T34" fmla="*/ 88 w 738"/>
                <a:gd name="T35" fmla="*/ 194 h 826"/>
                <a:gd name="T36" fmla="*/ 141 w 738"/>
                <a:gd name="T37" fmla="*/ 211 h 826"/>
                <a:gd name="T38" fmla="*/ 158 w 738"/>
                <a:gd name="T39" fmla="*/ 246 h 826"/>
                <a:gd name="T40" fmla="*/ 229 w 738"/>
                <a:gd name="T41" fmla="*/ 316 h 826"/>
                <a:gd name="T42" fmla="*/ 246 w 738"/>
                <a:gd name="T43" fmla="*/ 387 h 826"/>
                <a:gd name="T44" fmla="*/ 246 w 738"/>
                <a:gd name="T45" fmla="*/ 475 h 826"/>
                <a:gd name="T46" fmla="*/ 334 w 738"/>
                <a:gd name="T47" fmla="*/ 633 h 826"/>
                <a:gd name="T48" fmla="*/ 334 w 738"/>
                <a:gd name="T49" fmla="*/ 668 h 826"/>
                <a:gd name="T50" fmla="*/ 422 w 738"/>
                <a:gd name="T51" fmla="*/ 756 h 826"/>
                <a:gd name="T52" fmla="*/ 439 w 738"/>
                <a:gd name="T53" fmla="*/ 808 h 826"/>
                <a:gd name="T54" fmla="*/ 439 w 738"/>
                <a:gd name="T55" fmla="*/ 826 h 826"/>
                <a:gd name="T56" fmla="*/ 562 w 738"/>
                <a:gd name="T57" fmla="*/ 756 h 826"/>
                <a:gd name="T58" fmla="*/ 615 w 738"/>
                <a:gd name="T59" fmla="*/ 720 h 826"/>
                <a:gd name="T60" fmla="*/ 562 w 738"/>
                <a:gd name="T61" fmla="*/ 685 h 826"/>
                <a:gd name="T62" fmla="*/ 562 w 738"/>
                <a:gd name="T63" fmla="*/ 650 h 826"/>
                <a:gd name="T64" fmla="*/ 615 w 738"/>
                <a:gd name="T65" fmla="*/ 580 h 826"/>
                <a:gd name="T66" fmla="*/ 597 w 738"/>
                <a:gd name="T67" fmla="*/ 527 h 826"/>
                <a:gd name="T68" fmla="*/ 615 w 738"/>
                <a:gd name="T69" fmla="*/ 510 h 826"/>
                <a:gd name="T70" fmla="*/ 685 w 738"/>
                <a:gd name="T71" fmla="*/ 510 h 826"/>
                <a:gd name="T72" fmla="*/ 703 w 738"/>
                <a:gd name="T73" fmla="*/ 387 h 826"/>
                <a:gd name="T74" fmla="*/ 738 w 738"/>
                <a:gd name="T75" fmla="*/ 334 h 826"/>
                <a:gd name="T76" fmla="*/ 738 w 738"/>
                <a:gd name="T77" fmla="*/ 316 h 826"/>
                <a:gd name="T78" fmla="*/ 685 w 738"/>
                <a:gd name="T79" fmla="*/ 281 h 826"/>
                <a:gd name="T80" fmla="*/ 668 w 738"/>
                <a:gd name="T81" fmla="*/ 176 h 826"/>
                <a:gd name="T82" fmla="*/ 633 w 738"/>
                <a:gd name="T83" fmla="*/ 53 h 826"/>
                <a:gd name="T84" fmla="*/ 597 w 738"/>
                <a:gd name="T85" fmla="*/ 53 h 826"/>
                <a:gd name="T86" fmla="*/ 562 w 738"/>
                <a:gd name="T87" fmla="*/ 0 h 826"/>
                <a:gd name="T88" fmla="*/ 527 w 738"/>
                <a:gd name="T89" fmla="*/ 53 h 826"/>
                <a:gd name="T90" fmla="*/ 457 w 738"/>
                <a:gd name="T91" fmla="*/ 35 h 826"/>
                <a:gd name="T92" fmla="*/ 404 w 738"/>
                <a:gd name="T93" fmla="*/ 53 h 82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38"/>
                <a:gd name="T142" fmla="*/ 0 h 826"/>
                <a:gd name="T143" fmla="*/ 738 w 738"/>
                <a:gd name="T144" fmla="*/ 826 h 82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38" h="826">
                  <a:moveTo>
                    <a:pt x="404" y="71"/>
                  </a:moveTo>
                  <a:lnTo>
                    <a:pt x="404" y="71"/>
                  </a:lnTo>
                  <a:lnTo>
                    <a:pt x="404" y="88"/>
                  </a:lnTo>
                  <a:lnTo>
                    <a:pt x="404" y="106"/>
                  </a:lnTo>
                  <a:lnTo>
                    <a:pt x="422" y="106"/>
                  </a:lnTo>
                  <a:lnTo>
                    <a:pt x="439" y="106"/>
                  </a:lnTo>
                  <a:lnTo>
                    <a:pt x="439" y="88"/>
                  </a:lnTo>
                  <a:lnTo>
                    <a:pt x="474" y="88"/>
                  </a:lnTo>
                  <a:lnTo>
                    <a:pt x="474" y="106"/>
                  </a:lnTo>
                  <a:lnTo>
                    <a:pt x="457" y="158"/>
                  </a:lnTo>
                  <a:lnTo>
                    <a:pt x="422" y="194"/>
                  </a:lnTo>
                  <a:lnTo>
                    <a:pt x="334" y="211"/>
                  </a:lnTo>
                  <a:lnTo>
                    <a:pt x="316" y="229"/>
                  </a:lnTo>
                  <a:lnTo>
                    <a:pt x="316" y="246"/>
                  </a:lnTo>
                  <a:lnTo>
                    <a:pt x="316" y="281"/>
                  </a:lnTo>
                  <a:lnTo>
                    <a:pt x="299" y="281"/>
                  </a:lnTo>
                  <a:lnTo>
                    <a:pt x="246" y="264"/>
                  </a:lnTo>
                  <a:lnTo>
                    <a:pt x="229" y="264"/>
                  </a:lnTo>
                  <a:lnTo>
                    <a:pt x="211" y="246"/>
                  </a:lnTo>
                  <a:lnTo>
                    <a:pt x="211" y="211"/>
                  </a:lnTo>
                  <a:lnTo>
                    <a:pt x="158" y="158"/>
                  </a:lnTo>
                  <a:lnTo>
                    <a:pt x="141" y="123"/>
                  </a:lnTo>
                  <a:lnTo>
                    <a:pt x="141" y="88"/>
                  </a:lnTo>
                  <a:lnTo>
                    <a:pt x="106" y="88"/>
                  </a:lnTo>
                  <a:lnTo>
                    <a:pt x="106" y="106"/>
                  </a:lnTo>
                  <a:lnTo>
                    <a:pt x="88" y="123"/>
                  </a:lnTo>
                  <a:lnTo>
                    <a:pt x="53" y="106"/>
                  </a:lnTo>
                  <a:lnTo>
                    <a:pt x="35" y="106"/>
                  </a:lnTo>
                  <a:lnTo>
                    <a:pt x="18" y="106"/>
                  </a:lnTo>
                  <a:lnTo>
                    <a:pt x="0" y="123"/>
                  </a:lnTo>
                  <a:lnTo>
                    <a:pt x="18" y="158"/>
                  </a:lnTo>
                  <a:lnTo>
                    <a:pt x="35" y="176"/>
                  </a:lnTo>
                  <a:lnTo>
                    <a:pt x="53" y="176"/>
                  </a:lnTo>
                  <a:lnTo>
                    <a:pt x="70" y="158"/>
                  </a:lnTo>
                  <a:lnTo>
                    <a:pt x="88" y="194"/>
                  </a:lnTo>
                  <a:lnTo>
                    <a:pt x="106" y="211"/>
                  </a:lnTo>
                  <a:lnTo>
                    <a:pt x="141" y="211"/>
                  </a:lnTo>
                  <a:lnTo>
                    <a:pt x="158" y="229"/>
                  </a:lnTo>
                  <a:lnTo>
                    <a:pt x="158" y="246"/>
                  </a:lnTo>
                  <a:lnTo>
                    <a:pt x="193" y="281"/>
                  </a:lnTo>
                  <a:lnTo>
                    <a:pt x="211" y="299"/>
                  </a:lnTo>
                  <a:lnTo>
                    <a:pt x="229" y="316"/>
                  </a:lnTo>
                  <a:lnTo>
                    <a:pt x="246" y="352"/>
                  </a:lnTo>
                  <a:lnTo>
                    <a:pt x="246" y="387"/>
                  </a:lnTo>
                  <a:lnTo>
                    <a:pt x="229" y="404"/>
                  </a:lnTo>
                  <a:lnTo>
                    <a:pt x="246" y="475"/>
                  </a:lnTo>
                  <a:lnTo>
                    <a:pt x="281" y="527"/>
                  </a:lnTo>
                  <a:lnTo>
                    <a:pt x="316" y="580"/>
                  </a:lnTo>
                  <a:lnTo>
                    <a:pt x="334" y="633"/>
                  </a:lnTo>
                  <a:lnTo>
                    <a:pt x="334" y="668"/>
                  </a:lnTo>
                  <a:lnTo>
                    <a:pt x="352" y="685"/>
                  </a:lnTo>
                  <a:lnTo>
                    <a:pt x="369" y="703"/>
                  </a:lnTo>
                  <a:lnTo>
                    <a:pt x="422" y="756"/>
                  </a:lnTo>
                  <a:lnTo>
                    <a:pt x="439" y="773"/>
                  </a:lnTo>
                  <a:lnTo>
                    <a:pt x="439" y="808"/>
                  </a:lnTo>
                  <a:lnTo>
                    <a:pt x="439" y="826"/>
                  </a:lnTo>
                  <a:lnTo>
                    <a:pt x="492" y="808"/>
                  </a:lnTo>
                  <a:lnTo>
                    <a:pt x="562" y="756"/>
                  </a:lnTo>
                  <a:lnTo>
                    <a:pt x="580" y="720"/>
                  </a:lnTo>
                  <a:lnTo>
                    <a:pt x="615" y="720"/>
                  </a:lnTo>
                  <a:lnTo>
                    <a:pt x="580" y="703"/>
                  </a:lnTo>
                  <a:lnTo>
                    <a:pt x="562" y="685"/>
                  </a:lnTo>
                  <a:lnTo>
                    <a:pt x="545" y="668"/>
                  </a:lnTo>
                  <a:lnTo>
                    <a:pt x="562" y="650"/>
                  </a:lnTo>
                  <a:lnTo>
                    <a:pt x="580" y="633"/>
                  </a:lnTo>
                  <a:lnTo>
                    <a:pt x="615" y="615"/>
                  </a:lnTo>
                  <a:lnTo>
                    <a:pt x="615" y="580"/>
                  </a:lnTo>
                  <a:lnTo>
                    <a:pt x="597" y="527"/>
                  </a:lnTo>
                  <a:lnTo>
                    <a:pt x="597" y="510"/>
                  </a:lnTo>
                  <a:lnTo>
                    <a:pt x="615" y="510"/>
                  </a:lnTo>
                  <a:lnTo>
                    <a:pt x="650" y="510"/>
                  </a:lnTo>
                  <a:lnTo>
                    <a:pt x="685" y="510"/>
                  </a:lnTo>
                  <a:lnTo>
                    <a:pt x="720" y="475"/>
                  </a:lnTo>
                  <a:lnTo>
                    <a:pt x="703" y="387"/>
                  </a:lnTo>
                  <a:lnTo>
                    <a:pt x="703" y="369"/>
                  </a:lnTo>
                  <a:lnTo>
                    <a:pt x="738" y="334"/>
                  </a:lnTo>
                  <a:lnTo>
                    <a:pt x="738" y="316"/>
                  </a:lnTo>
                  <a:lnTo>
                    <a:pt x="703" y="299"/>
                  </a:lnTo>
                  <a:lnTo>
                    <a:pt x="685" y="281"/>
                  </a:lnTo>
                  <a:lnTo>
                    <a:pt x="685" y="229"/>
                  </a:lnTo>
                  <a:lnTo>
                    <a:pt x="668" y="176"/>
                  </a:lnTo>
                  <a:lnTo>
                    <a:pt x="668" y="141"/>
                  </a:lnTo>
                  <a:lnTo>
                    <a:pt x="633" y="53"/>
                  </a:lnTo>
                  <a:lnTo>
                    <a:pt x="597" y="71"/>
                  </a:lnTo>
                  <a:lnTo>
                    <a:pt x="597" y="53"/>
                  </a:lnTo>
                  <a:lnTo>
                    <a:pt x="580" y="35"/>
                  </a:lnTo>
                  <a:lnTo>
                    <a:pt x="562" y="0"/>
                  </a:lnTo>
                  <a:lnTo>
                    <a:pt x="545" y="35"/>
                  </a:lnTo>
                  <a:lnTo>
                    <a:pt x="545" y="53"/>
                  </a:lnTo>
                  <a:lnTo>
                    <a:pt x="527" y="53"/>
                  </a:lnTo>
                  <a:lnTo>
                    <a:pt x="492" y="53"/>
                  </a:lnTo>
                  <a:lnTo>
                    <a:pt x="457" y="35"/>
                  </a:lnTo>
                  <a:lnTo>
                    <a:pt x="404" y="53"/>
                  </a:lnTo>
                  <a:lnTo>
                    <a:pt x="404" y="71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02" name="Freeform 82"/>
            <p:cNvSpPr>
              <a:spLocks/>
            </p:cNvSpPr>
            <p:nvPr/>
          </p:nvSpPr>
          <p:spPr bwMode="auto">
            <a:xfrm>
              <a:off x="1253499" y="5458492"/>
              <a:ext cx="276437" cy="521413"/>
            </a:xfrm>
            <a:custGeom>
              <a:avLst/>
              <a:gdLst>
                <a:gd name="T0" fmla="*/ 456 w 456"/>
                <a:gd name="T1" fmla="*/ 158 h 860"/>
                <a:gd name="T2" fmla="*/ 421 w 456"/>
                <a:gd name="T3" fmla="*/ 175 h 860"/>
                <a:gd name="T4" fmla="*/ 404 w 456"/>
                <a:gd name="T5" fmla="*/ 211 h 860"/>
                <a:gd name="T6" fmla="*/ 421 w 456"/>
                <a:gd name="T7" fmla="*/ 316 h 860"/>
                <a:gd name="T8" fmla="*/ 439 w 456"/>
                <a:gd name="T9" fmla="*/ 333 h 860"/>
                <a:gd name="T10" fmla="*/ 404 w 456"/>
                <a:gd name="T11" fmla="*/ 386 h 860"/>
                <a:gd name="T12" fmla="*/ 351 w 456"/>
                <a:gd name="T13" fmla="*/ 456 h 860"/>
                <a:gd name="T14" fmla="*/ 316 w 456"/>
                <a:gd name="T15" fmla="*/ 509 h 860"/>
                <a:gd name="T16" fmla="*/ 316 w 456"/>
                <a:gd name="T17" fmla="*/ 632 h 860"/>
                <a:gd name="T18" fmla="*/ 316 w 456"/>
                <a:gd name="T19" fmla="*/ 702 h 860"/>
                <a:gd name="T20" fmla="*/ 333 w 456"/>
                <a:gd name="T21" fmla="*/ 825 h 860"/>
                <a:gd name="T22" fmla="*/ 316 w 456"/>
                <a:gd name="T23" fmla="*/ 843 h 860"/>
                <a:gd name="T24" fmla="*/ 281 w 456"/>
                <a:gd name="T25" fmla="*/ 843 h 860"/>
                <a:gd name="T26" fmla="*/ 210 w 456"/>
                <a:gd name="T27" fmla="*/ 843 h 860"/>
                <a:gd name="T28" fmla="*/ 158 w 456"/>
                <a:gd name="T29" fmla="*/ 860 h 860"/>
                <a:gd name="T30" fmla="*/ 123 w 456"/>
                <a:gd name="T31" fmla="*/ 843 h 860"/>
                <a:gd name="T32" fmla="*/ 105 w 456"/>
                <a:gd name="T33" fmla="*/ 808 h 860"/>
                <a:gd name="T34" fmla="*/ 105 w 456"/>
                <a:gd name="T35" fmla="*/ 702 h 860"/>
                <a:gd name="T36" fmla="*/ 70 w 456"/>
                <a:gd name="T37" fmla="*/ 650 h 860"/>
                <a:gd name="T38" fmla="*/ 52 w 456"/>
                <a:gd name="T39" fmla="*/ 579 h 860"/>
                <a:gd name="T40" fmla="*/ 35 w 456"/>
                <a:gd name="T41" fmla="*/ 562 h 860"/>
                <a:gd name="T42" fmla="*/ 0 w 456"/>
                <a:gd name="T43" fmla="*/ 509 h 860"/>
                <a:gd name="T44" fmla="*/ 17 w 456"/>
                <a:gd name="T45" fmla="*/ 474 h 860"/>
                <a:gd name="T46" fmla="*/ 87 w 456"/>
                <a:gd name="T47" fmla="*/ 421 h 860"/>
                <a:gd name="T48" fmla="*/ 123 w 456"/>
                <a:gd name="T49" fmla="*/ 421 h 860"/>
                <a:gd name="T50" fmla="*/ 175 w 456"/>
                <a:gd name="T51" fmla="*/ 421 h 860"/>
                <a:gd name="T52" fmla="*/ 210 w 456"/>
                <a:gd name="T53" fmla="*/ 404 h 860"/>
                <a:gd name="T54" fmla="*/ 228 w 456"/>
                <a:gd name="T55" fmla="*/ 333 h 860"/>
                <a:gd name="T56" fmla="*/ 281 w 456"/>
                <a:gd name="T57" fmla="*/ 281 h 860"/>
                <a:gd name="T58" fmla="*/ 316 w 456"/>
                <a:gd name="T59" fmla="*/ 246 h 860"/>
                <a:gd name="T60" fmla="*/ 316 w 456"/>
                <a:gd name="T61" fmla="*/ 246 h 860"/>
                <a:gd name="T62" fmla="*/ 246 w 456"/>
                <a:gd name="T63" fmla="*/ 228 h 860"/>
                <a:gd name="T64" fmla="*/ 210 w 456"/>
                <a:gd name="T65" fmla="*/ 158 h 860"/>
                <a:gd name="T66" fmla="*/ 210 w 456"/>
                <a:gd name="T67" fmla="*/ 88 h 860"/>
                <a:gd name="T68" fmla="*/ 210 w 456"/>
                <a:gd name="T69" fmla="*/ 70 h 860"/>
                <a:gd name="T70" fmla="*/ 246 w 456"/>
                <a:gd name="T71" fmla="*/ 70 h 860"/>
                <a:gd name="T72" fmla="*/ 210 w 456"/>
                <a:gd name="T73" fmla="*/ 17 h 860"/>
                <a:gd name="T74" fmla="*/ 298 w 456"/>
                <a:gd name="T75" fmla="*/ 17 h 860"/>
                <a:gd name="T76" fmla="*/ 351 w 456"/>
                <a:gd name="T77" fmla="*/ 0 h 860"/>
                <a:gd name="T78" fmla="*/ 386 w 456"/>
                <a:gd name="T79" fmla="*/ 35 h 860"/>
                <a:gd name="T80" fmla="*/ 439 w 456"/>
                <a:gd name="T81" fmla="*/ 88 h 860"/>
                <a:gd name="T82" fmla="*/ 456 w 456"/>
                <a:gd name="T83" fmla="*/ 140 h 860"/>
                <a:gd name="T84" fmla="*/ 456 w 456"/>
                <a:gd name="T85" fmla="*/ 158 h 86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56"/>
                <a:gd name="T130" fmla="*/ 0 h 860"/>
                <a:gd name="T131" fmla="*/ 456 w 456"/>
                <a:gd name="T132" fmla="*/ 860 h 86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56" h="860">
                  <a:moveTo>
                    <a:pt x="456" y="158"/>
                  </a:moveTo>
                  <a:lnTo>
                    <a:pt x="456" y="158"/>
                  </a:lnTo>
                  <a:lnTo>
                    <a:pt x="439" y="158"/>
                  </a:lnTo>
                  <a:lnTo>
                    <a:pt x="421" y="175"/>
                  </a:lnTo>
                  <a:lnTo>
                    <a:pt x="404" y="211"/>
                  </a:lnTo>
                  <a:lnTo>
                    <a:pt x="404" y="246"/>
                  </a:lnTo>
                  <a:lnTo>
                    <a:pt x="421" y="316"/>
                  </a:lnTo>
                  <a:lnTo>
                    <a:pt x="439" y="333"/>
                  </a:lnTo>
                  <a:lnTo>
                    <a:pt x="439" y="351"/>
                  </a:lnTo>
                  <a:lnTo>
                    <a:pt x="404" y="386"/>
                  </a:lnTo>
                  <a:lnTo>
                    <a:pt x="351" y="456"/>
                  </a:lnTo>
                  <a:lnTo>
                    <a:pt x="333" y="492"/>
                  </a:lnTo>
                  <a:lnTo>
                    <a:pt x="316" y="509"/>
                  </a:lnTo>
                  <a:lnTo>
                    <a:pt x="316" y="579"/>
                  </a:lnTo>
                  <a:lnTo>
                    <a:pt x="316" y="632"/>
                  </a:lnTo>
                  <a:lnTo>
                    <a:pt x="316" y="702"/>
                  </a:lnTo>
                  <a:lnTo>
                    <a:pt x="333" y="773"/>
                  </a:lnTo>
                  <a:lnTo>
                    <a:pt x="333" y="825"/>
                  </a:lnTo>
                  <a:lnTo>
                    <a:pt x="316" y="843"/>
                  </a:lnTo>
                  <a:lnTo>
                    <a:pt x="281" y="843"/>
                  </a:lnTo>
                  <a:lnTo>
                    <a:pt x="210" y="843"/>
                  </a:lnTo>
                  <a:lnTo>
                    <a:pt x="193" y="860"/>
                  </a:lnTo>
                  <a:lnTo>
                    <a:pt x="158" y="860"/>
                  </a:lnTo>
                  <a:lnTo>
                    <a:pt x="123" y="843"/>
                  </a:lnTo>
                  <a:lnTo>
                    <a:pt x="105" y="808"/>
                  </a:lnTo>
                  <a:lnTo>
                    <a:pt x="105" y="702"/>
                  </a:lnTo>
                  <a:lnTo>
                    <a:pt x="70" y="650"/>
                  </a:lnTo>
                  <a:lnTo>
                    <a:pt x="52" y="579"/>
                  </a:lnTo>
                  <a:lnTo>
                    <a:pt x="52" y="562"/>
                  </a:lnTo>
                  <a:lnTo>
                    <a:pt x="35" y="562"/>
                  </a:lnTo>
                  <a:lnTo>
                    <a:pt x="17" y="544"/>
                  </a:lnTo>
                  <a:lnTo>
                    <a:pt x="0" y="509"/>
                  </a:lnTo>
                  <a:lnTo>
                    <a:pt x="17" y="474"/>
                  </a:lnTo>
                  <a:lnTo>
                    <a:pt x="35" y="439"/>
                  </a:lnTo>
                  <a:lnTo>
                    <a:pt x="87" y="421"/>
                  </a:lnTo>
                  <a:lnTo>
                    <a:pt x="123" y="421"/>
                  </a:lnTo>
                  <a:lnTo>
                    <a:pt x="175" y="421"/>
                  </a:lnTo>
                  <a:lnTo>
                    <a:pt x="210" y="421"/>
                  </a:lnTo>
                  <a:lnTo>
                    <a:pt x="210" y="404"/>
                  </a:lnTo>
                  <a:lnTo>
                    <a:pt x="228" y="333"/>
                  </a:lnTo>
                  <a:lnTo>
                    <a:pt x="281" y="281"/>
                  </a:lnTo>
                  <a:lnTo>
                    <a:pt x="316" y="263"/>
                  </a:lnTo>
                  <a:lnTo>
                    <a:pt x="316" y="246"/>
                  </a:lnTo>
                  <a:lnTo>
                    <a:pt x="281" y="246"/>
                  </a:lnTo>
                  <a:lnTo>
                    <a:pt x="246" y="228"/>
                  </a:lnTo>
                  <a:lnTo>
                    <a:pt x="210" y="158"/>
                  </a:lnTo>
                  <a:lnTo>
                    <a:pt x="193" y="123"/>
                  </a:lnTo>
                  <a:lnTo>
                    <a:pt x="210" y="88"/>
                  </a:lnTo>
                  <a:lnTo>
                    <a:pt x="210" y="70"/>
                  </a:lnTo>
                  <a:lnTo>
                    <a:pt x="246" y="70"/>
                  </a:lnTo>
                  <a:lnTo>
                    <a:pt x="210" y="17"/>
                  </a:lnTo>
                  <a:lnTo>
                    <a:pt x="298" y="17"/>
                  </a:lnTo>
                  <a:lnTo>
                    <a:pt x="351" y="0"/>
                  </a:lnTo>
                  <a:lnTo>
                    <a:pt x="369" y="17"/>
                  </a:lnTo>
                  <a:lnTo>
                    <a:pt x="386" y="35"/>
                  </a:lnTo>
                  <a:lnTo>
                    <a:pt x="439" y="88"/>
                  </a:lnTo>
                  <a:lnTo>
                    <a:pt x="456" y="105"/>
                  </a:lnTo>
                  <a:lnTo>
                    <a:pt x="456" y="140"/>
                  </a:lnTo>
                  <a:lnTo>
                    <a:pt x="456" y="158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03" name="Freeform 83"/>
            <p:cNvSpPr>
              <a:spLocks/>
            </p:cNvSpPr>
            <p:nvPr/>
          </p:nvSpPr>
          <p:spPr bwMode="auto">
            <a:xfrm>
              <a:off x="1221370" y="5533066"/>
              <a:ext cx="223695" cy="191589"/>
            </a:xfrm>
            <a:custGeom>
              <a:avLst/>
              <a:gdLst>
                <a:gd name="T0" fmla="*/ 246 w 369"/>
                <a:gd name="T1" fmla="*/ 17 h 316"/>
                <a:gd name="T2" fmla="*/ 246 w 369"/>
                <a:gd name="T3" fmla="*/ 17 h 316"/>
                <a:gd name="T4" fmla="*/ 228 w 369"/>
                <a:gd name="T5" fmla="*/ 17 h 316"/>
                <a:gd name="T6" fmla="*/ 228 w 369"/>
                <a:gd name="T7" fmla="*/ 17 h 316"/>
                <a:gd name="T8" fmla="*/ 211 w 369"/>
                <a:gd name="T9" fmla="*/ 17 h 316"/>
                <a:gd name="T10" fmla="*/ 193 w 369"/>
                <a:gd name="T11" fmla="*/ 0 h 316"/>
                <a:gd name="T12" fmla="*/ 193 w 369"/>
                <a:gd name="T13" fmla="*/ 0 h 316"/>
                <a:gd name="T14" fmla="*/ 123 w 369"/>
                <a:gd name="T15" fmla="*/ 17 h 316"/>
                <a:gd name="T16" fmla="*/ 70 w 369"/>
                <a:gd name="T17" fmla="*/ 35 h 316"/>
                <a:gd name="T18" fmla="*/ 53 w 369"/>
                <a:gd name="T19" fmla="*/ 52 h 316"/>
                <a:gd name="T20" fmla="*/ 53 w 369"/>
                <a:gd name="T21" fmla="*/ 52 h 316"/>
                <a:gd name="T22" fmla="*/ 70 w 369"/>
                <a:gd name="T23" fmla="*/ 105 h 316"/>
                <a:gd name="T24" fmla="*/ 70 w 369"/>
                <a:gd name="T25" fmla="*/ 105 h 316"/>
                <a:gd name="T26" fmla="*/ 70 w 369"/>
                <a:gd name="T27" fmla="*/ 140 h 316"/>
                <a:gd name="T28" fmla="*/ 35 w 369"/>
                <a:gd name="T29" fmla="*/ 158 h 316"/>
                <a:gd name="T30" fmla="*/ 35 w 369"/>
                <a:gd name="T31" fmla="*/ 158 h 316"/>
                <a:gd name="T32" fmla="*/ 17 w 369"/>
                <a:gd name="T33" fmla="*/ 140 h 316"/>
                <a:gd name="T34" fmla="*/ 17 w 369"/>
                <a:gd name="T35" fmla="*/ 140 h 316"/>
                <a:gd name="T36" fmla="*/ 17 w 369"/>
                <a:gd name="T37" fmla="*/ 140 h 316"/>
                <a:gd name="T38" fmla="*/ 0 w 369"/>
                <a:gd name="T39" fmla="*/ 158 h 316"/>
                <a:gd name="T40" fmla="*/ 0 w 369"/>
                <a:gd name="T41" fmla="*/ 158 h 316"/>
                <a:gd name="T42" fmla="*/ 17 w 369"/>
                <a:gd name="T43" fmla="*/ 175 h 316"/>
                <a:gd name="T44" fmla="*/ 35 w 369"/>
                <a:gd name="T45" fmla="*/ 193 h 316"/>
                <a:gd name="T46" fmla="*/ 70 w 369"/>
                <a:gd name="T47" fmla="*/ 228 h 316"/>
                <a:gd name="T48" fmla="*/ 70 w 369"/>
                <a:gd name="T49" fmla="*/ 228 h 316"/>
                <a:gd name="T50" fmla="*/ 88 w 369"/>
                <a:gd name="T51" fmla="*/ 263 h 316"/>
                <a:gd name="T52" fmla="*/ 105 w 369"/>
                <a:gd name="T53" fmla="*/ 316 h 316"/>
                <a:gd name="T54" fmla="*/ 105 w 369"/>
                <a:gd name="T55" fmla="*/ 316 h 316"/>
                <a:gd name="T56" fmla="*/ 105 w 369"/>
                <a:gd name="T57" fmla="*/ 316 h 316"/>
                <a:gd name="T58" fmla="*/ 105 w 369"/>
                <a:gd name="T59" fmla="*/ 316 h 316"/>
                <a:gd name="T60" fmla="*/ 105 w 369"/>
                <a:gd name="T61" fmla="*/ 316 h 316"/>
                <a:gd name="T62" fmla="*/ 140 w 369"/>
                <a:gd name="T63" fmla="*/ 298 h 316"/>
                <a:gd name="T64" fmla="*/ 176 w 369"/>
                <a:gd name="T65" fmla="*/ 298 h 316"/>
                <a:gd name="T66" fmla="*/ 176 w 369"/>
                <a:gd name="T67" fmla="*/ 298 h 316"/>
                <a:gd name="T68" fmla="*/ 228 w 369"/>
                <a:gd name="T69" fmla="*/ 298 h 316"/>
                <a:gd name="T70" fmla="*/ 228 w 369"/>
                <a:gd name="T71" fmla="*/ 298 h 316"/>
                <a:gd name="T72" fmla="*/ 263 w 369"/>
                <a:gd name="T73" fmla="*/ 298 h 316"/>
                <a:gd name="T74" fmla="*/ 263 w 369"/>
                <a:gd name="T75" fmla="*/ 281 h 316"/>
                <a:gd name="T76" fmla="*/ 281 w 369"/>
                <a:gd name="T77" fmla="*/ 210 h 316"/>
                <a:gd name="T78" fmla="*/ 281 w 369"/>
                <a:gd name="T79" fmla="*/ 210 h 316"/>
                <a:gd name="T80" fmla="*/ 334 w 369"/>
                <a:gd name="T81" fmla="*/ 158 h 316"/>
                <a:gd name="T82" fmla="*/ 334 w 369"/>
                <a:gd name="T83" fmla="*/ 158 h 316"/>
                <a:gd name="T84" fmla="*/ 369 w 369"/>
                <a:gd name="T85" fmla="*/ 140 h 316"/>
                <a:gd name="T86" fmla="*/ 369 w 369"/>
                <a:gd name="T87" fmla="*/ 123 h 316"/>
                <a:gd name="T88" fmla="*/ 369 w 369"/>
                <a:gd name="T89" fmla="*/ 123 h 316"/>
                <a:gd name="T90" fmla="*/ 369 w 369"/>
                <a:gd name="T91" fmla="*/ 123 h 316"/>
                <a:gd name="T92" fmla="*/ 334 w 369"/>
                <a:gd name="T93" fmla="*/ 123 h 316"/>
                <a:gd name="T94" fmla="*/ 299 w 369"/>
                <a:gd name="T95" fmla="*/ 105 h 316"/>
                <a:gd name="T96" fmla="*/ 263 w 369"/>
                <a:gd name="T97" fmla="*/ 35 h 316"/>
                <a:gd name="T98" fmla="*/ 263 w 369"/>
                <a:gd name="T99" fmla="*/ 35 h 316"/>
                <a:gd name="T100" fmla="*/ 246 w 369"/>
                <a:gd name="T101" fmla="*/ 17 h 316"/>
                <a:gd name="T102" fmla="*/ 246 w 369"/>
                <a:gd name="T103" fmla="*/ 17 h 31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69"/>
                <a:gd name="T157" fmla="*/ 0 h 316"/>
                <a:gd name="T158" fmla="*/ 369 w 369"/>
                <a:gd name="T159" fmla="*/ 316 h 31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69" h="316">
                  <a:moveTo>
                    <a:pt x="246" y="17"/>
                  </a:moveTo>
                  <a:lnTo>
                    <a:pt x="246" y="17"/>
                  </a:lnTo>
                  <a:lnTo>
                    <a:pt x="228" y="17"/>
                  </a:lnTo>
                  <a:lnTo>
                    <a:pt x="211" y="17"/>
                  </a:lnTo>
                  <a:lnTo>
                    <a:pt x="193" y="0"/>
                  </a:lnTo>
                  <a:lnTo>
                    <a:pt x="123" y="17"/>
                  </a:lnTo>
                  <a:lnTo>
                    <a:pt x="70" y="35"/>
                  </a:lnTo>
                  <a:lnTo>
                    <a:pt x="53" y="52"/>
                  </a:lnTo>
                  <a:lnTo>
                    <a:pt x="70" y="105"/>
                  </a:lnTo>
                  <a:lnTo>
                    <a:pt x="70" y="140"/>
                  </a:lnTo>
                  <a:lnTo>
                    <a:pt x="35" y="158"/>
                  </a:lnTo>
                  <a:lnTo>
                    <a:pt x="17" y="140"/>
                  </a:lnTo>
                  <a:lnTo>
                    <a:pt x="0" y="158"/>
                  </a:lnTo>
                  <a:lnTo>
                    <a:pt x="17" y="175"/>
                  </a:lnTo>
                  <a:lnTo>
                    <a:pt x="35" y="193"/>
                  </a:lnTo>
                  <a:lnTo>
                    <a:pt x="70" y="228"/>
                  </a:lnTo>
                  <a:lnTo>
                    <a:pt x="88" y="263"/>
                  </a:lnTo>
                  <a:lnTo>
                    <a:pt x="105" y="316"/>
                  </a:lnTo>
                  <a:lnTo>
                    <a:pt x="140" y="298"/>
                  </a:lnTo>
                  <a:lnTo>
                    <a:pt x="176" y="298"/>
                  </a:lnTo>
                  <a:lnTo>
                    <a:pt x="228" y="298"/>
                  </a:lnTo>
                  <a:lnTo>
                    <a:pt x="263" y="298"/>
                  </a:lnTo>
                  <a:lnTo>
                    <a:pt x="263" y="281"/>
                  </a:lnTo>
                  <a:lnTo>
                    <a:pt x="281" y="210"/>
                  </a:lnTo>
                  <a:lnTo>
                    <a:pt x="334" y="158"/>
                  </a:lnTo>
                  <a:lnTo>
                    <a:pt x="369" y="140"/>
                  </a:lnTo>
                  <a:lnTo>
                    <a:pt x="369" y="123"/>
                  </a:lnTo>
                  <a:lnTo>
                    <a:pt x="334" y="123"/>
                  </a:lnTo>
                  <a:lnTo>
                    <a:pt x="299" y="105"/>
                  </a:lnTo>
                  <a:lnTo>
                    <a:pt x="263" y="35"/>
                  </a:lnTo>
                  <a:lnTo>
                    <a:pt x="246" y="17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04" name="Freeform 84"/>
            <p:cNvSpPr>
              <a:spLocks/>
            </p:cNvSpPr>
            <p:nvPr/>
          </p:nvSpPr>
          <p:spPr bwMode="auto">
            <a:xfrm>
              <a:off x="997674" y="5277210"/>
              <a:ext cx="181260" cy="170369"/>
            </a:xfrm>
            <a:custGeom>
              <a:avLst/>
              <a:gdLst>
                <a:gd name="T0" fmla="*/ 228 w 299"/>
                <a:gd name="T1" fmla="*/ 18 h 281"/>
                <a:gd name="T2" fmla="*/ 228 w 299"/>
                <a:gd name="T3" fmla="*/ 18 h 281"/>
                <a:gd name="T4" fmla="*/ 211 w 299"/>
                <a:gd name="T5" fmla="*/ 53 h 281"/>
                <a:gd name="T6" fmla="*/ 176 w 299"/>
                <a:gd name="T7" fmla="*/ 53 h 281"/>
                <a:gd name="T8" fmla="*/ 176 w 299"/>
                <a:gd name="T9" fmla="*/ 53 h 281"/>
                <a:gd name="T10" fmla="*/ 140 w 299"/>
                <a:gd name="T11" fmla="*/ 53 h 281"/>
                <a:gd name="T12" fmla="*/ 140 w 299"/>
                <a:gd name="T13" fmla="*/ 35 h 281"/>
                <a:gd name="T14" fmla="*/ 123 w 299"/>
                <a:gd name="T15" fmla="*/ 18 h 281"/>
                <a:gd name="T16" fmla="*/ 88 w 299"/>
                <a:gd name="T17" fmla="*/ 0 h 281"/>
                <a:gd name="T18" fmla="*/ 88 w 299"/>
                <a:gd name="T19" fmla="*/ 0 h 281"/>
                <a:gd name="T20" fmla="*/ 35 w 299"/>
                <a:gd name="T21" fmla="*/ 18 h 281"/>
                <a:gd name="T22" fmla="*/ 0 w 299"/>
                <a:gd name="T23" fmla="*/ 53 h 281"/>
                <a:gd name="T24" fmla="*/ 0 w 299"/>
                <a:gd name="T25" fmla="*/ 70 h 281"/>
                <a:gd name="T26" fmla="*/ 0 w 299"/>
                <a:gd name="T27" fmla="*/ 70 h 281"/>
                <a:gd name="T28" fmla="*/ 18 w 299"/>
                <a:gd name="T29" fmla="*/ 141 h 281"/>
                <a:gd name="T30" fmla="*/ 53 w 299"/>
                <a:gd name="T31" fmla="*/ 193 h 281"/>
                <a:gd name="T32" fmla="*/ 105 w 299"/>
                <a:gd name="T33" fmla="*/ 246 h 281"/>
                <a:gd name="T34" fmla="*/ 140 w 299"/>
                <a:gd name="T35" fmla="*/ 281 h 281"/>
                <a:gd name="T36" fmla="*/ 140 w 299"/>
                <a:gd name="T37" fmla="*/ 281 h 281"/>
                <a:gd name="T38" fmla="*/ 158 w 299"/>
                <a:gd name="T39" fmla="*/ 264 h 281"/>
                <a:gd name="T40" fmla="*/ 193 w 299"/>
                <a:gd name="T41" fmla="*/ 246 h 281"/>
                <a:gd name="T42" fmla="*/ 263 w 299"/>
                <a:gd name="T43" fmla="*/ 229 h 281"/>
                <a:gd name="T44" fmla="*/ 263 w 299"/>
                <a:gd name="T45" fmla="*/ 229 h 281"/>
                <a:gd name="T46" fmla="*/ 281 w 299"/>
                <a:gd name="T47" fmla="*/ 229 h 281"/>
                <a:gd name="T48" fmla="*/ 281 w 299"/>
                <a:gd name="T49" fmla="*/ 229 h 281"/>
                <a:gd name="T50" fmla="*/ 263 w 299"/>
                <a:gd name="T51" fmla="*/ 176 h 281"/>
                <a:gd name="T52" fmla="*/ 263 w 299"/>
                <a:gd name="T53" fmla="*/ 141 h 281"/>
                <a:gd name="T54" fmla="*/ 263 w 299"/>
                <a:gd name="T55" fmla="*/ 141 h 281"/>
                <a:gd name="T56" fmla="*/ 263 w 299"/>
                <a:gd name="T57" fmla="*/ 123 h 281"/>
                <a:gd name="T58" fmla="*/ 281 w 299"/>
                <a:gd name="T59" fmla="*/ 123 h 281"/>
                <a:gd name="T60" fmla="*/ 299 w 299"/>
                <a:gd name="T61" fmla="*/ 123 h 281"/>
                <a:gd name="T62" fmla="*/ 299 w 299"/>
                <a:gd name="T63" fmla="*/ 106 h 281"/>
                <a:gd name="T64" fmla="*/ 299 w 299"/>
                <a:gd name="T65" fmla="*/ 106 h 281"/>
                <a:gd name="T66" fmla="*/ 281 w 299"/>
                <a:gd name="T67" fmla="*/ 70 h 281"/>
                <a:gd name="T68" fmla="*/ 263 w 299"/>
                <a:gd name="T69" fmla="*/ 53 h 281"/>
                <a:gd name="T70" fmla="*/ 246 w 299"/>
                <a:gd name="T71" fmla="*/ 35 h 281"/>
                <a:gd name="T72" fmla="*/ 228 w 299"/>
                <a:gd name="T73" fmla="*/ 0 h 281"/>
                <a:gd name="T74" fmla="*/ 228 w 299"/>
                <a:gd name="T75" fmla="*/ 0 h 281"/>
                <a:gd name="T76" fmla="*/ 228 w 299"/>
                <a:gd name="T77" fmla="*/ 18 h 281"/>
                <a:gd name="T78" fmla="*/ 228 w 299"/>
                <a:gd name="T79" fmla="*/ 18 h 28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99"/>
                <a:gd name="T121" fmla="*/ 0 h 281"/>
                <a:gd name="T122" fmla="*/ 299 w 299"/>
                <a:gd name="T123" fmla="*/ 281 h 28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99" h="281">
                  <a:moveTo>
                    <a:pt x="228" y="18"/>
                  </a:moveTo>
                  <a:lnTo>
                    <a:pt x="228" y="18"/>
                  </a:lnTo>
                  <a:lnTo>
                    <a:pt x="211" y="53"/>
                  </a:lnTo>
                  <a:lnTo>
                    <a:pt x="176" y="53"/>
                  </a:lnTo>
                  <a:lnTo>
                    <a:pt x="140" y="53"/>
                  </a:lnTo>
                  <a:lnTo>
                    <a:pt x="140" y="35"/>
                  </a:lnTo>
                  <a:lnTo>
                    <a:pt x="123" y="18"/>
                  </a:lnTo>
                  <a:lnTo>
                    <a:pt x="88" y="0"/>
                  </a:lnTo>
                  <a:lnTo>
                    <a:pt x="35" y="18"/>
                  </a:lnTo>
                  <a:lnTo>
                    <a:pt x="0" y="53"/>
                  </a:lnTo>
                  <a:lnTo>
                    <a:pt x="0" y="70"/>
                  </a:lnTo>
                  <a:lnTo>
                    <a:pt x="18" y="141"/>
                  </a:lnTo>
                  <a:lnTo>
                    <a:pt x="53" y="193"/>
                  </a:lnTo>
                  <a:lnTo>
                    <a:pt x="105" y="246"/>
                  </a:lnTo>
                  <a:lnTo>
                    <a:pt x="140" y="281"/>
                  </a:lnTo>
                  <a:lnTo>
                    <a:pt x="158" y="264"/>
                  </a:lnTo>
                  <a:lnTo>
                    <a:pt x="193" y="246"/>
                  </a:lnTo>
                  <a:lnTo>
                    <a:pt x="263" y="229"/>
                  </a:lnTo>
                  <a:lnTo>
                    <a:pt x="281" y="229"/>
                  </a:lnTo>
                  <a:lnTo>
                    <a:pt x="263" y="176"/>
                  </a:lnTo>
                  <a:lnTo>
                    <a:pt x="263" y="141"/>
                  </a:lnTo>
                  <a:lnTo>
                    <a:pt x="263" y="123"/>
                  </a:lnTo>
                  <a:lnTo>
                    <a:pt x="281" y="123"/>
                  </a:lnTo>
                  <a:lnTo>
                    <a:pt x="299" y="123"/>
                  </a:lnTo>
                  <a:lnTo>
                    <a:pt x="299" y="106"/>
                  </a:lnTo>
                  <a:lnTo>
                    <a:pt x="281" y="70"/>
                  </a:lnTo>
                  <a:lnTo>
                    <a:pt x="263" y="53"/>
                  </a:lnTo>
                  <a:lnTo>
                    <a:pt x="246" y="35"/>
                  </a:lnTo>
                  <a:lnTo>
                    <a:pt x="228" y="0"/>
                  </a:lnTo>
                  <a:lnTo>
                    <a:pt x="228" y="18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05" name="Freeform 85"/>
            <p:cNvSpPr>
              <a:spLocks/>
            </p:cNvSpPr>
            <p:nvPr/>
          </p:nvSpPr>
          <p:spPr bwMode="auto">
            <a:xfrm>
              <a:off x="1082545" y="5416052"/>
              <a:ext cx="202478" cy="127322"/>
            </a:xfrm>
            <a:custGeom>
              <a:avLst/>
              <a:gdLst>
                <a:gd name="T0" fmla="*/ 317 w 334"/>
                <a:gd name="T1" fmla="*/ 140 h 210"/>
                <a:gd name="T2" fmla="*/ 317 w 334"/>
                <a:gd name="T3" fmla="*/ 140 h 210"/>
                <a:gd name="T4" fmla="*/ 334 w 334"/>
                <a:gd name="T5" fmla="*/ 122 h 210"/>
                <a:gd name="T6" fmla="*/ 334 w 334"/>
                <a:gd name="T7" fmla="*/ 122 h 210"/>
                <a:gd name="T8" fmla="*/ 282 w 334"/>
                <a:gd name="T9" fmla="*/ 70 h 210"/>
                <a:gd name="T10" fmla="*/ 282 w 334"/>
                <a:gd name="T11" fmla="*/ 70 h 210"/>
                <a:gd name="T12" fmla="*/ 264 w 334"/>
                <a:gd name="T13" fmla="*/ 70 h 210"/>
                <a:gd name="T14" fmla="*/ 246 w 334"/>
                <a:gd name="T15" fmla="*/ 70 h 210"/>
                <a:gd name="T16" fmla="*/ 211 w 334"/>
                <a:gd name="T17" fmla="*/ 52 h 210"/>
                <a:gd name="T18" fmla="*/ 176 w 334"/>
                <a:gd name="T19" fmla="*/ 17 h 210"/>
                <a:gd name="T20" fmla="*/ 123 w 334"/>
                <a:gd name="T21" fmla="*/ 0 h 210"/>
                <a:gd name="T22" fmla="*/ 123 w 334"/>
                <a:gd name="T23" fmla="*/ 0 h 210"/>
                <a:gd name="T24" fmla="*/ 53 w 334"/>
                <a:gd name="T25" fmla="*/ 17 h 210"/>
                <a:gd name="T26" fmla="*/ 18 w 334"/>
                <a:gd name="T27" fmla="*/ 35 h 210"/>
                <a:gd name="T28" fmla="*/ 0 w 334"/>
                <a:gd name="T29" fmla="*/ 52 h 210"/>
                <a:gd name="T30" fmla="*/ 0 w 334"/>
                <a:gd name="T31" fmla="*/ 52 h 210"/>
                <a:gd name="T32" fmla="*/ 18 w 334"/>
                <a:gd name="T33" fmla="*/ 70 h 210"/>
                <a:gd name="T34" fmla="*/ 36 w 334"/>
                <a:gd name="T35" fmla="*/ 87 h 210"/>
                <a:gd name="T36" fmla="*/ 36 w 334"/>
                <a:gd name="T37" fmla="*/ 87 h 210"/>
                <a:gd name="T38" fmla="*/ 53 w 334"/>
                <a:gd name="T39" fmla="*/ 158 h 210"/>
                <a:gd name="T40" fmla="*/ 71 w 334"/>
                <a:gd name="T41" fmla="*/ 193 h 210"/>
                <a:gd name="T42" fmla="*/ 88 w 334"/>
                <a:gd name="T43" fmla="*/ 210 h 210"/>
                <a:gd name="T44" fmla="*/ 88 w 334"/>
                <a:gd name="T45" fmla="*/ 210 h 210"/>
                <a:gd name="T46" fmla="*/ 123 w 334"/>
                <a:gd name="T47" fmla="*/ 193 h 210"/>
                <a:gd name="T48" fmla="*/ 194 w 334"/>
                <a:gd name="T49" fmla="*/ 193 h 210"/>
                <a:gd name="T50" fmla="*/ 194 w 334"/>
                <a:gd name="T51" fmla="*/ 193 h 210"/>
                <a:gd name="T52" fmla="*/ 211 w 334"/>
                <a:gd name="T53" fmla="*/ 210 h 210"/>
                <a:gd name="T54" fmla="*/ 211 w 334"/>
                <a:gd name="T55" fmla="*/ 210 h 210"/>
                <a:gd name="T56" fmla="*/ 229 w 334"/>
                <a:gd name="T57" fmla="*/ 193 h 210"/>
                <a:gd name="T58" fmla="*/ 229 w 334"/>
                <a:gd name="T59" fmla="*/ 193 h 210"/>
                <a:gd name="T60" fmla="*/ 246 w 334"/>
                <a:gd name="T61" fmla="*/ 210 h 210"/>
                <a:gd name="T62" fmla="*/ 264 w 334"/>
                <a:gd name="T63" fmla="*/ 210 h 210"/>
                <a:gd name="T64" fmla="*/ 264 w 334"/>
                <a:gd name="T65" fmla="*/ 210 h 210"/>
                <a:gd name="T66" fmla="*/ 282 w 334"/>
                <a:gd name="T67" fmla="*/ 193 h 210"/>
                <a:gd name="T68" fmla="*/ 299 w 334"/>
                <a:gd name="T69" fmla="*/ 175 h 210"/>
                <a:gd name="T70" fmla="*/ 299 w 334"/>
                <a:gd name="T71" fmla="*/ 158 h 210"/>
                <a:gd name="T72" fmla="*/ 317 w 334"/>
                <a:gd name="T73" fmla="*/ 158 h 210"/>
                <a:gd name="T74" fmla="*/ 317 w 334"/>
                <a:gd name="T75" fmla="*/ 158 h 210"/>
                <a:gd name="T76" fmla="*/ 317 w 334"/>
                <a:gd name="T77" fmla="*/ 140 h 210"/>
                <a:gd name="T78" fmla="*/ 317 w 334"/>
                <a:gd name="T79" fmla="*/ 140 h 21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34"/>
                <a:gd name="T121" fmla="*/ 0 h 210"/>
                <a:gd name="T122" fmla="*/ 334 w 334"/>
                <a:gd name="T123" fmla="*/ 210 h 21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34" h="210">
                  <a:moveTo>
                    <a:pt x="317" y="140"/>
                  </a:moveTo>
                  <a:lnTo>
                    <a:pt x="317" y="140"/>
                  </a:lnTo>
                  <a:lnTo>
                    <a:pt x="334" y="122"/>
                  </a:lnTo>
                  <a:lnTo>
                    <a:pt x="282" y="70"/>
                  </a:lnTo>
                  <a:lnTo>
                    <a:pt x="264" y="70"/>
                  </a:lnTo>
                  <a:lnTo>
                    <a:pt x="246" y="70"/>
                  </a:lnTo>
                  <a:lnTo>
                    <a:pt x="211" y="52"/>
                  </a:lnTo>
                  <a:lnTo>
                    <a:pt x="176" y="17"/>
                  </a:lnTo>
                  <a:lnTo>
                    <a:pt x="123" y="0"/>
                  </a:lnTo>
                  <a:lnTo>
                    <a:pt x="53" y="17"/>
                  </a:lnTo>
                  <a:lnTo>
                    <a:pt x="18" y="35"/>
                  </a:lnTo>
                  <a:lnTo>
                    <a:pt x="0" y="52"/>
                  </a:lnTo>
                  <a:lnTo>
                    <a:pt x="18" y="70"/>
                  </a:lnTo>
                  <a:lnTo>
                    <a:pt x="36" y="87"/>
                  </a:lnTo>
                  <a:lnTo>
                    <a:pt x="53" y="158"/>
                  </a:lnTo>
                  <a:lnTo>
                    <a:pt x="71" y="193"/>
                  </a:lnTo>
                  <a:lnTo>
                    <a:pt x="88" y="210"/>
                  </a:lnTo>
                  <a:lnTo>
                    <a:pt x="123" y="193"/>
                  </a:lnTo>
                  <a:lnTo>
                    <a:pt x="194" y="193"/>
                  </a:lnTo>
                  <a:lnTo>
                    <a:pt x="211" y="210"/>
                  </a:lnTo>
                  <a:lnTo>
                    <a:pt x="229" y="193"/>
                  </a:lnTo>
                  <a:lnTo>
                    <a:pt x="246" y="210"/>
                  </a:lnTo>
                  <a:lnTo>
                    <a:pt x="264" y="210"/>
                  </a:lnTo>
                  <a:lnTo>
                    <a:pt x="282" y="193"/>
                  </a:lnTo>
                  <a:lnTo>
                    <a:pt x="299" y="175"/>
                  </a:lnTo>
                  <a:lnTo>
                    <a:pt x="299" y="158"/>
                  </a:lnTo>
                  <a:lnTo>
                    <a:pt x="317" y="158"/>
                  </a:lnTo>
                  <a:lnTo>
                    <a:pt x="317" y="140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06" name="Freeform 86"/>
            <p:cNvSpPr>
              <a:spLocks/>
            </p:cNvSpPr>
            <p:nvPr/>
          </p:nvSpPr>
          <p:spPr bwMode="auto">
            <a:xfrm>
              <a:off x="1135893" y="5511846"/>
              <a:ext cx="170348" cy="117015"/>
            </a:xfrm>
            <a:custGeom>
              <a:avLst/>
              <a:gdLst>
                <a:gd name="T0" fmla="*/ 158 w 281"/>
                <a:gd name="T1" fmla="*/ 175 h 193"/>
                <a:gd name="T2" fmla="*/ 158 w 281"/>
                <a:gd name="T3" fmla="*/ 175 h 193"/>
                <a:gd name="T4" fmla="*/ 176 w 281"/>
                <a:gd name="T5" fmla="*/ 193 h 193"/>
                <a:gd name="T6" fmla="*/ 176 w 281"/>
                <a:gd name="T7" fmla="*/ 193 h 193"/>
                <a:gd name="T8" fmla="*/ 211 w 281"/>
                <a:gd name="T9" fmla="*/ 175 h 193"/>
                <a:gd name="T10" fmla="*/ 211 w 281"/>
                <a:gd name="T11" fmla="*/ 140 h 193"/>
                <a:gd name="T12" fmla="*/ 211 w 281"/>
                <a:gd name="T13" fmla="*/ 140 h 193"/>
                <a:gd name="T14" fmla="*/ 194 w 281"/>
                <a:gd name="T15" fmla="*/ 87 h 193"/>
                <a:gd name="T16" fmla="*/ 194 w 281"/>
                <a:gd name="T17" fmla="*/ 87 h 193"/>
                <a:gd name="T18" fmla="*/ 211 w 281"/>
                <a:gd name="T19" fmla="*/ 70 h 193"/>
                <a:gd name="T20" fmla="*/ 229 w 281"/>
                <a:gd name="T21" fmla="*/ 52 h 193"/>
                <a:gd name="T22" fmla="*/ 281 w 281"/>
                <a:gd name="T23" fmla="*/ 52 h 193"/>
                <a:gd name="T24" fmla="*/ 281 w 281"/>
                <a:gd name="T25" fmla="*/ 52 h 193"/>
                <a:gd name="T26" fmla="*/ 264 w 281"/>
                <a:gd name="T27" fmla="*/ 0 h 193"/>
                <a:gd name="T28" fmla="*/ 229 w 281"/>
                <a:gd name="T29" fmla="*/ 0 h 193"/>
                <a:gd name="T30" fmla="*/ 229 w 281"/>
                <a:gd name="T31" fmla="*/ 0 h 193"/>
                <a:gd name="T32" fmla="*/ 211 w 281"/>
                <a:gd name="T33" fmla="*/ 0 h 193"/>
                <a:gd name="T34" fmla="*/ 211 w 281"/>
                <a:gd name="T35" fmla="*/ 17 h 193"/>
                <a:gd name="T36" fmla="*/ 194 w 281"/>
                <a:gd name="T37" fmla="*/ 35 h 193"/>
                <a:gd name="T38" fmla="*/ 176 w 281"/>
                <a:gd name="T39" fmla="*/ 52 h 193"/>
                <a:gd name="T40" fmla="*/ 176 w 281"/>
                <a:gd name="T41" fmla="*/ 52 h 193"/>
                <a:gd name="T42" fmla="*/ 158 w 281"/>
                <a:gd name="T43" fmla="*/ 52 h 193"/>
                <a:gd name="T44" fmla="*/ 141 w 281"/>
                <a:gd name="T45" fmla="*/ 35 h 193"/>
                <a:gd name="T46" fmla="*/ 141 w 281"/>
                <a:gd name="T47" fmla="*/ 35 h 193"/>
                <a:gd name="T48" fmla="*/ 123 w 281"/>
                <a:gd name="T49" fmla="*/ 52 h 193"/>
                <a:gd name="T50" fmla="*/ 123 w 281"/>
                <a:gd name="T51" fmla="*/ 52 h 193"/>
                <a:gd name="T52" fmla="*/ 106 w 281"/>
                <a:gd name="T53" fmla="*/ 35 h 193"/>
                <a:gd name="T54" fmla="*/ 106 w 281"/>
                <a:gd name="T55" fmla="*/ 35 h 193"/>
                <a:gd name="T56" fmla="*/ 35 w 281"/>
                <a:gd name="T57" fmla="*/ 35 h 193"/>
                <a:gd name="T58" fmla="*/ 0 w 281"/>
                <a:gd name="T59" fmla="*/ 52 h 193"/>
                <a:gd name="T60" fmla="*/ 0 w 281"/>
                <a:gd name="T61" fmla="*/ 52 h 193"/>
                <a:gd name="T62" fmla="*/ 18 w 281"/>
                <a:gd name="T63" fmla="*/ 87 h 193"/>
                <a:gd name="T64" fmla="*/ 35 w 281"/>
                <a:gd name="T65" fmla="*/ 123 h 193"/>
                <a:gd name="T66" fmla="*/ 35 w 281"/>
                <a:gd name="T67" fmla="*/ 123 h 193"/>
                <a:gd name="T68" fmla="*/ 18 w 281"/>
                <a:gd name="T69" fmla="*/ 140 h 193"/>
                <a:gd name="T70" fmla="*/ 18 w 281"/>
                <a:gd name="T71" fmla="*/ 140 h 193"/>
                <a:gd name="T72" fmla="*/ 35 w 281"/>
                <a:gd name="T73" fmla="*/ 158 h 193"/>
                <a:gd name="T74" fmla="*/ 71 w 281"/>
                <a:gd name="T75" fmla="*/ 175 h 193"/>
                <a:gd name="T76" fmla="*/ 141 w 281"/>
                <a:gd name="T77" fmla="*/ 175 h 193"/>
                <a:gd name="T78" fmla="*/ 141 w 281"/>
                <a:gd name="T79" fmla="*/ 175 h 193"/>
                <a:gd name="T80" fmla="*/ 158 w 281"/>
                <a:gd name="T81" fmla="*/ 175 h 193"/>
                <a:gd name="T82" fmla="*/ 158 w 281"/>
                <a:gd name="T83" fmla="*/ 175 h 1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81"/>
                <a:gd name="T127" fmla="*/ 0 h 193"/>
                <a:gd name="T128" fmla="*/ 281 w 281"/>
                <a:gd name="T129" fmla="*/ 193 h 19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81" h="193">
                  <a:moveTo>
                    <a:pt x="158" y="175"/>
                  </a:moveTo>
                  <a:lnTo>
                    <a:pt x="158" y="175"/>
                  </a:lnTo>
                  <a:lnTo>
                    <a:pt x="176" y="193"/>
                  </a:lnTo>
                  <a:lnTo>
                    <a:pt x="211" y="175"/>
                  </a:lnTo>
                  <a:lnTo>
                    <a:pt x="211" y="140"/>
                  </a:lnTo>
                  <a:lnTo>
                    <a:pt x="194" y="87"/>
                  </a:lnTo>
                  <a:lnTo>
                    <a:pt x="211" y="70"/>
                  </a:lnTo>
                  <a:lnTo>
                    <a:pt x="229" y="52"/>
                  </a:lnTo>
                  <a:lnTo>
                    <a:pt x="281" y="52"/>
                  </a:lnTo>
                  <a:lnTo>
                    <a:pt x="264" y="0"/>
                  </a:lnTo>
                  <a:lnTo>
                    <a:pt x="229" y="0"/>
                  </a:lnTo>
                  <a:lnTo>
                    <a:pt x="211" y="0"/>
                  </a:lnTo>
                  <a:lnTo>
                    <a:pt x="211" y="17"/>
                  </a:lnTo>
                  <a:lnTo>
                    <a:pt x="194" y="35"/>
                  </a:lnTo>
                  <a:lnTo>
                    <a:pt x="176" y="52"/>
                  </a:lnTo>
                  <a:lnTo>
                    <a:pt x="158" y="52"/>
                  </a:lnTo>
                  <a:lnTo>
                    <a:pt x="141" y="35"/>
                  </a:lnTo>
                  <a:lnTo>
                    <a:pt x="123" y="52"/>
                  </a:lnTo>
                  <a:lnTo>
                    <a:pt x="106" y="35"/>
                  </a:lnTo>
                  <a:lnTo>
                    <a:pt x="35" y="35"/>
                  </a:lnTo>
                  <a:lnTo>
                    <a:pt x="0" y="52"/>
                  </a:lnTo>
                  <a:lnTo>
                    <a:pt x="18" y="87"/>
                  </a:lnTo>
                  <a:lnTo>
                    <a:pt x="35" y="123"/>
                  </a:lnTo>
                  <a:lnTo>
                    <a:pt x="18" y="140"/>
                  </a:lnTo>
                  <a:lnTo>
                    <a:pt x="35" y="158"/>
                  </a:lnTo>
                  <a:lnTo>
                    <a:pt x="71" y="175"/>
                  </a:lnTo>
                  <a:lnTo>
                    <a:pt x="141" y="175"/>
                  </a:lnTo>
                  <a:lnTo>
                    <a:pt x="158" y="175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07" name="Freeform 87"/>
            <p:cNvSpPr>
              <a:spLocks/>
            </p:cNvSpPr>
            <p:nvPr/>
          </p:nvSpPr>
          <p:spPr bwMode="auto">
            <a:xfrm>
              <a:off x="2595066" y="4308352"/>
              <a:ext cx="277043" cy="329824"/>
            </a:xfrm>
            <a:custGeom>
              <a:avLst/>
              <a:gdLst>
                <a:gd name="T0" fmla="*/ 211 w 457"/>
                <a:gd name="T1" fmla="*/ 544 h 544"/>
                <a:gd name="T2" fmla="*/ 281 w 457"/>
                <a:gd name="T3" fmla="*/ 544 h 544"/>
                <a:gd name="T4" fmla="*/ 351 w 457"/>
                <a:gd name="T5" fmla="*/ 492 h 544"/>
                <a:gd name="T6" fmla="*/ 316 w 457"/>
                <a:gd name="T7" fmla="*/ 457 h 544"/>
                <a:gd name="T8" fmla="*/ 316 w 457"/>
                <a:gd name="T9" fmla="*/ 421 h 544"/>
                <a:gd name="T10" fmla="*/ 387 w 457"/>
                <a:gd name="T11" fmla="*/ 386 h 544"/>
                <a:gd name="T12" fmla="*/ 404 w 457"/>
                <a:gd name="T13" fmla="*/ 298 h 544"/>
                <a:gd name="T14" fmla="*/ 422 w 457"/>
                <a:gd name="T15" fmla="*/ 211 h 544"/>
                <a:gd name="T16" fmla="*/ 457 w 457"/>
                <a:gd name="T17" fmla="*/ 105 h 544"/>
                <a:gd name="T18" fmla="*/ 369 w 457"/>
                <a:gd name="T19" fmla="*/ 53 h 544"/>
                <a:gd name="T20" fmla="*/ 299 w 457"/>
                <a:gd name="T21" fmla="*/ 0 h 544"/>
                <a:gd name="T22" fmla="*/ 264 w 457"/>
                <a:gd name="T23" fmla="*/ 17 h 544"/>
                <a:gd name="T24" fmla="*/ 229 w 457"/>
                <a:gd name="T25" fmla="*/ 70 h 544"/>
                <a:gd name="T26" fmla="*/ 193 w 457"/>
                <a:gd name="T27" fmla="*/ 140 h 544"/>
                <a:gd name="T28" fmla="*/ 176 w 457"/>
                <a:gd name="T29" fmla="*/ 158 h 544"/>
                <a:gd name="T30" fmla="*/ 141 w 457"/>
                <a:gd name="T31" fmla="*/ 140 h 544"/>
                <a:gd name="T32" fmla="*/ 88 w 457"/>
                <a:gd name="T33" fmla="*/ 158 h 544"/>
                <a:gd name="T34" fmla="*/ 70 w 457"/>
                <a:gd name="T35" fmla="*/ 246 h 544"/>
                <a:gd name="T36" fmla="*/ 70 w 457"/>
                <a:gd name="T37" fmla="*/ 263 h 544"/>
                <a:gd name="T38" fmla="*/ 18 w 457"/>
                <a:gd name="T39" fmla="*/ 298 h 544"/>
                <a:gd name="T40" fmla="*/ 18 w 457"/>
                <a:gd name="T41" fmla="*/ 334 h 544"/>
                <a:gd name="T42" fmla="*/ 18 w 457"/>
                <a:gd name="T43" fmla="*/ 404 h 544"/>
                <a:gd name="T44" fmla="*/ 0 w 457"/>
                <a:gd name="T45" fmla="*/ 421 h 544"/>
                <a:gd name="T46" fmla="*/ 18 w 457"/>
                <a:gd name="T47" fmla="*/ 457 h 544"/>
                <a:gd name="T48" fmla="*/ 70 w 457"/>
                <a:gd name="T49" fmla="*/ 457 h 544"/>
                <a:gd name="T50" fmla="*/ 141 w 457"/>
                <a:gd name="T51" fmla="*/ 457 h 544"/>
                <a:gd name="T52" fmla="*/ 141 w 457"/>
                <a:gd name="T53" fmla="*/ 421 h 544"/>
                <a:gd name="T54" fmla="*/ 158 w 457"/>
                <a:gd name="T55" fmla="*/ 421 h 544"/>
                <a:gd name="T56" fmla="*/ 176 w 457"/>
                <a:gd name="T57" fmla="*/ 404 h 544"/>
                <a:gd name="T58" fmla="*/ 193 w 457"/>
                <a:gd name="T59" fmla="*/ 439 h 544"/>
                <a:gd name="T60" fmla="*/ 193 w 457"/>
                <a:gd name="T61" fmla="*/ 439 h 544"/>
                <a:gd name="T62" fmla="*/ 176 w 457"/>
                <a:gd name="T63" fmla="*/ 492 h 544"/>
                <a:gd name="T64" fmla="*/ 229 w 457"/>
                <a:gd name="T65" fmla="*/ 492 h 544"/>
                <a:gd name="T66" fmla="*/ 229 w 457"/>
                <a:gd name="T67" fmla="*/ 492 h 544"/>
                <a:gd name="T68" fmla="*/ 176 w 457"/>
                <a:gd name="T69" fmla="*/ 527 h 544"/>
                <a:gd name="T70" fmla="*/ 176 w 457"/>
                <a:gd name="T71" fmla="*/ 544 h 544"/>
                <a:gd name="T72" fmla="*/ 176 w 457"/>
                <a:gd name="T73" fmla="*/ 544 h 544"/>
                <a:gd name="T74" fmla="*/ 211 w 457"/>
                <a:gd name="T75" fmla="*/ 544 h 544"/>
                <a:gd name="T76" fmla="*/ 211 w 457"/>
                <a:gd name="T77" fmla="*/ 544 h 54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57"/>
                <a:gd name="T118" fmla="*/ 0 h 544"/>
                <a:gd name="T119" fmla="*/ 457 w 457"/>
                <a:gd name="T120" fmla="*/ 544 h 54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57" h="544">
                  <a:moveTo>
                    <a:pt x="211" y="544"/>
                  </a:moveTo>
                  <a:lnTo>
                    <a:pt x="211" y="544"/>
                  </a:lnTo>
                  <a:lnTo>
                    <a:pt x="246" y="544"/>
                  </a:lnTo>
                  <a:lnTo>
                    <a:pt x="281" y="544"/>
                  </a:lnTo>
                  <a:lnTo>
                    <a:pt x="351" y="492"/>
                  </a:lnTo>
                  <a:lnTo>
                    <a:pt x="316" y="474"/>
                  </a:lnTo>
                  <a:lnTo>
                    <a:pt x="316" y="457"/>
                  </a:lnTo>
                  <a:lnTo>
                    <a:pt x="316" y="421"/>
                  </a:lnTo>
                  <a:lnTo>
                    <a:pt x="334" y="421"/>
                  </a:lnTo>
                  <a:lnTo>
                    <a:pt x="387" y="386"/>
                  </a:lnTo>
                  <a:lnTo>
                    <a:pt x="404" y="298"/>
                  </a:lnTo>
                  <a:lnTo>
                    <a:pt x="422" y="211"/>
                  </a:lnTo>
                  <a:lnTo>
                    <a:pt x="439" y="158"/>
                  </a:lnTo>
                  <a:lnTo>
                    <a:pt x="457" y="105"/>
                  </a:lnTo>
                  <a:lnTo>
                    <a:pt x="369" y="53"/>
                  </a:lnTo>
                  <a:lnTo>
                    <a:pt x="334" y="17"/>
                  </a:lnTo>
                  <a:lnTo>
                    <a:pt x="299" y="0"/>
                  </a:lnTo>
                  <a:lnTo>
                    <a:pt x="264" y="17"/>
                  </a:lnTo>
                  <a:lnTo>
                    <a:pt x="246" y="35"/>
                  </a:lnTo>
                  <a:lnTo>
                    <a:pt x="229" y="70"/>
                  </a:lnTo>
                  <a:lnTo>
                    <a:pt x="211" y="123"/>
                  </a:lnTo>
                  <a:lnTo>
                    <a:pt x="193" y="140"/>
                  </a:lnTo>
                  <a:lnTo>
                    <a:pt x="176" y="158"/>
                  </a:lnTo>
                  <a:lnTo>
                    <a:pt x="158" y="140"/>
                  </a:lnTo>
                  <a:lnTo>
                    <a:pt x="141" y="140"/>
                  </a:lnTo>
                  <a:lnTo>
                    <a:pt x="88" y="158"/>
                  </a:lnTo>
                  <a:lnTo>
                    <a:pt x="70" y="246"/>
                  </a:lnTo>
                  <a:lnTo>
                    <a:pt x="70" y="263"/>
                  </a:lnTo>
                  <a:lnTo>
                    <a:pt x="35" y="281"/>
                  </a:lnTo>
                  <a:lnTo>
                    <a:pt x="18" y="298"/>
                  </a:lnTo>
                  <a:lnTo>
                    <a:pt x="18" y="334"/>
                  </a:lnTo>
                  <a:lnTo>
                    <a:pt x="18" y="404"/>
                  </a:lnTo>
                  <a:lnTo>
                    <a:pt x="0" y="421"/>
                  </a:lnTo>
                  <a:lnTo>
                    <a:pt x="18" y="439"/>
                  </a:lnTo>
                  <a:lnTo>
                    <a:pt x="18" y="457"/>
                  </a:lnTo>
                  <a:lnTo>
                    <a:pt x="70" y="457"/>
                  </a:lnTo>
                  <a:lnTo>
                    <a:pt x="106" y="474"/>
                  </a:lnTo>
                  <a:lnTo>
                    <a:pt x="141" y="457"/>
                  </a:lnTo>
                  <a:lnTo>
                    <a:pt x="141" y="421"/>
                  </a:lnTo>
                  <a:lnTo>
                    <a:pt x="158" y="421"/>
                  </a:lnTo>
                  <a:lnTo>
                    <a:pt x="176" y="404"/>
                  </a:lnTo>
                  <a:lnTo>
                    <a:pt x="193" y="404"/>
                  </a:lnTo>
                  <a:lnTo>
                    <a:pt x="193" y="439"/>
                  </a:lnTo>
                  <a:lnTo>
                    <a:pt x="176" y="457"/>
                  </a:lnTo>
                  <a:lnTo>
                    <a:pt x="176" y="492"/>
                  </a:lnTo>
                  <a:lnTo>
                    <a:pt x="229" y="492"/>
                  </a:lnTo>
                  <a:lnTo>
                    <a:pt x="211" y="509"/>
                  </a:lnTo>
                  <a:lnTo>
                    <a:pt x="176" y="527"/>
                  </a:lnTo>
                  <a:lnTo>
                    <a:pt x="176" y="544"/>
                  </a:lnTo>
                  <a:lnTo>
                    <a:pt x="193" y="544"/>
                  </a:lnTo>
                  <a:lnTo>
                    <a:pt x="211" y="544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08" name="Freeform 88"/>
            <p:cNvSpPr>
              <a:spLocks/>
            </p:cNvSpPr>
            <p:nvPr/>
          </p:nvSpPr>
          <p:spPr bwMode="auto">
            <a:xfrm>
              <a:off x="5044804" y="3466816"/>
              <a:ext cx="1043306" cy="1395083"/>
            </a:xfrm>
            <a:custGeom>
              <a:avLst/>
              <a:gdLst>
                <a:gd name="T0" fmla="*/ 105 w 1721"/>
                <a:gd name="T1" fmla="*/ 808 h 2301"/>
                <a:gd name="T2" fmla="*/ 35 w 1721"/>
                <a:gd name="T3" fmla="*/ 861 h 2301"/>
                <a:gd name="T4" fmla="*/ 35 w 1721"/>
                <a:gd name="T5" fmla="*/ 949 h 2301"/>
                <a:gd name="T6" fmla="*/ 35 w 1721"/>
                <a:gd name="T7" fmla="*/ 1037 h 2301"/>
                <a:gd name="T8" fmla="*/ 35 w 1721"/>
                <a:gd name="T9" fmla="*/ 1142 h 2301"/>
                <a:gd name="T10" fmla="*/ 228 w 1721"/>
                <a:gd name="T11" fmla="*/ 1247 h 2301"/>
                <a:gd name="T12" fmla="*/ 316 w 1721"/>
                <a:gd name="T13" fmla="*/ 1370 h 2301"/>
                <a:gd name="T14" fmla="*/ 281 w 1721"/>
                <a:gd name="T15" fmla="*/ 1476 h 2301"/>
                <a:gd name="T16" fmla="*/ 193 w 1721"/>
                <a:gd name="T17" fmla="*/ 1651 h 2301"/>
                <a:gd name="T18" fmla="*/ 158 w 1721"/>
                <a:gd name="T19" fmla="*/ 1739 h 2301"/>
                <a:gd name="T20" fmla="*/ 193 w 1721"/>
                <a:gd name="T21" fmla="*/ 1880 h 2301"/>
                <a:gd name="T22" fmla="*/ 281 w 1721"/>
                <a:gd name="T23" fmla="*/ 2020 h 2301"/>
                <a:gd name="T24" fmla="*/ 386 w 1721"/>
                <a:gd name="T25" fmla="*/ 1950 h 2301"/>
                <a:gd name="T26" fmla="*/ 386 w 1721"/>
                <a:gd name="T27" fmla="*/ 1880 h 2301"/>
                <a:gd name="T28" fmla="*/ 457 w 1721"/>
                <a:gd name="T29" fmla="*/ 1915 h 2301"/>
                <a:gd name="T30" fmla="*/ 580 w 1721"/>
                <a:gd name="T31" fmla="*/ 1915 h 2301"/>
                <a:gd name="T32" fmla="*/ 650 w 1721"/>
                <a:gd name="T33" fmla="*/ 2003 h 2301"/>
                <a:gd name="T34" fmla="*/ 667 w 1721"/>
                <a:gd name="T35" fmla="*/ 2231 h 2301"/>
                <a:gd name="T36" fmla="*/ 861 w 1721"/>
                <a:gd name="T37" fmla="*/ 2196 h 2301"/>
                <a:gd name="T38" fmla="*/ 1001 w 1721"/>
                <a:gd name="T39" fmla="*/ 2178 h 2301"/>
                <a:gd name="T40" fmla="*/ 1247 w 1721"/>
                <a:gd name="T41" fmla="*/ 2143 h 2301"/>
                <a:gd name="T42" fmla="*/ 1423 w 1721"/>
                <a:gd name="T43" fmla="*/ 2231 h 2301"/>
                <a:gd name="T44" fmla="*/ 1493 w 1721"/>
                <a:gd name="T45" fmla="*/ 2213 h 2301"/>
                <a:gd name="T46" fmla="*/ 1616 w 1721"/>
                <a:gd name="T47" fmla="*/ 2301 h 2301"/>
                <a:gd name="T48" fmla="*/ 1669 w 1721"/>
                <a:gd name="T49" fmla="*/ 2231 h 2301"/>
                <a:gd name="T50" fmla="*/ 1686 w 1721"/>
                <a:gd name="T51" fmla="*/ 2161 h 2301"/>
                <a:gd name="T52" fmla="*/ 1651 w 1721"/>
                <a:gd name="T53" fmla="*/ 2055 h 2301"/>
                <a:gd name="T54" fmla="*/ 1651 w 1721"/>
                <a:gd name="T55" fmla="*/ 1950 h 2301"/>
                <a:gd name="T56" fmla="*/ 1546 w 1721"/>
                <a:gd name="T57" fmla="*/ 1915 h 2301"/>
                <a:gd name="T58" fmla="*/ 1581 w 1721"/>
                <a:gd name="T59" fmla="*/ 1757 h 2301"/>
                <a:gd name="T60" fmla="*/ 1616 w 1721"/>
                <a:gd name="T61" fmla="*/ 1669 h 2301"/>
                <a:gd name="T62" fmla="*/ 1651 w 1721"/>
                <a:gd name="T63" fmla="*/ 1599 h 2301"/>
                <a:gd name="T64" fmla="*/ 1651 w 1721"/>
                <a:gd name="T65" fmla="*/ 1511 h 2301"/>
                <a:gd name="T66" fmla="*/ 1651 w 1721"/>
                <a:gd name="T67" fmla="*/ 1423 h 2301"/>
                <a:gd name="T68" fmla="*/ 1616 w 1721"/>
                <a:gd name="T69" fmla="*/ 1318 h 2301"/>
                <a:gd name="T70" fmla="*/ 1598 w 1721"/>
                <a:gd name="T71" fmla="*/ 1212 h 2301"/>
                <a:gd name="T72" fmla="*/ 1704 w 1721"/>
                <a:gd name="T73" fmla="*/ 1142 h 2301"/>
                <a:gd name="T74" fmla="*/ 1721 w 1721"/>
                <a:gd name="T75" fmla="*/ 1089 h 2301"/>
                <a:gd name="T76" fmla="*/ 1651 w 1721"/>
                <a:gd name="T77" fmla="*/ 1089 h 2301"/>
                <a:gd name="T78" fmla="*/ 1493 w 1721"/>
                <a:gd name="T79" fmla="*/ 1072 h 2301"/>
                <a:gd name="T80" fmla="*/ 1546 w 1721"/>
                <a:gd name="T81" fmla="*/ 861 h 2301"/>
                <a:gd name="T82" fmla="*/ 1440 w 1721"/>
                <a:gd name="T83" fmla="*/ 685 h 2301"/>
                <a:gd name="T84" fmla="*/ 1440 w 1721"/>
                <a:gd name="T85" fmla="*/ 580 h 2301"/>
                <a:gd name="T86" fmla="*/ 1405 w 1721"/>
                <a:gd name="T87" fmla="*/ 510 h 2301"/>
                <a:gd name="T88" fmla="*/ 1405 w 1721"/>
                <a:gd name="T89" fmla="*/ 229 h 2301"/>
                <a:gd name="T90" fmla="*/ 1265 w 1721"/>
                <a:gd name="T91" fmla="*/ 35 h 2301"/>
                <a:gd name="T92" fmla="*/ 1194 w 1721"/>
                <a:gd name="T93" fmla="*/ 53 h 2301"/>
                <a:gd name="T94" fmla="*/ 1124 w 1721"/>
                <a:gd name="T95" fmla="*/ 88 h 2301"/>
                <a:gd name="T96" fmla="*/ 948 w 1721"/>
                <a:gd name="T97" fmla="*/ 53 h 2301"/>
                <a:gd name="T98" fmla="*/ 861 w 1721"/>
                <a:gd name="T99" fmla="*/ 71 h 2301"/>
                <a:gd name="T100" fmla="*/ 790 w 1721"/>
                <a:gd name="T101" fmla="*/ 18 h 2301"/>
                <a:gd name="T102" fmla="*/ 720 w 1721"/>
                <a:gd name="T103" fmla="*/ 53 h 2301"/>
                <a:gd name="T104" fmla="*/ 509 w 1721"/>
                <a:gd name="T105" fmla="*/ 194 h 2301"/>
                <a:gd name="T106" fmla="*/ 421 w 1721"/>
                <a:gd name="T107" fmla="*/ 387 h 2301"/>
                <a:gd name="T108" fmla="*/ 334 w 1721"/>
                <a:gd name="T109" fmla="*/ 404 h 2301"/>
                <a:gd name="T110" fmla="*/ 228 w 1721"/>
                <a:gd name="T111" fmla="*/ 580 h 230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721"/>
                <a:gd name="T169" fmla="*/ 0 h 2301"/>
                <a:gd name="T170" fmla="*/ 1721 w 1721"/>
                <a:gd name="T171" fmla="*/ 2301 h 230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721" h="2301">
                  <a:moveTo>
                    <a:pt x="228" y="580"/>
                  </a:moveTo>
                  <a:lnTo>
                    <a:pt x="228" y="580"/>
                  </a:lnTo>
                  <a:lnTo>
                    <a:pt x="158" y="703"/>
                  </a:lnTo>
                  <a:lnTo>
                    <a:pt x="105" y="808"/>
                  </a:lnTo>
                  <a:lnTo>
                    <a:pt x="88" y="826"/>
                  </a:lnTo>
                  <a:lnTo>
                    <a:pt x="70" y="843"/>
                  </a:lnTo>
                  <a:lnTo>
                    <a:pt x="52" y="843"/>
                  </a:lnTo>
                  <a:lnTo>
                    <a:pt x="35" y="861"/>
                  </a:lnTo>
                  <a:lnTo>
                    <a:pt x="52" y="879"/>
                  </a:lnTo>
                  <a:lnTo>
                    <a:pt x="52" y="914"/>
                  </a:lnTo>
                  <a:lnTo>
                    <a:pt x="52" y="931"/>
                  </a:lnTo>
                  <a:lnTo>
                    <a:pt x="35" y="949"/>
                  </a:lnTo>
                  <a:lnTo>
                    <a:pt x="17" y="966"/>
                  </a:lnTo>
                  <a:lnTo>
                    <a:pt x="0" y="1001"/>
                  </a:lnTo>
                  <a:lnTo>
                    <a:pt x="17" y="1019"/>
                  </a:lnTo>
                  <a:lnTo>
                    <a:pt x="35" y="1037"/>
                  </a:lnTo>
                  <a:lnTo>
                    <a:pt x="52" y="1037"/>
                  </a:lnTo>
                  <a:lnTo>
                    <a:pt x="52" y="1072"/>
                  </a:lnTo>
                  <a:lnTo>
                    <a:pt x="35" y="1142"/>
                  </a:lnTo>
                  <a:lnTo>
                    <a:pt x="52" y="1177"/>
                  </a:lnTo>
                  <a:lnTo>
                    <a:pt x="70" y="1195"/>
                  </a:lnTo>
                  <a:lnTo>
                    <a:pt x="123" y="1212"/>
                  </a:lnTo>
                  <a:lnTo>
                    <a:pt x="228" y="1247"/>
                  </a:lnTo>
                  <a:lnTo>
                    <a:pt x="263" y="1282"/>
                  </a:lnTo>
                  <a:lnTo>
                    <a:pt x="298" y="1318"/>
                  </a:lnTo>
                  <a:lnTo>
                    <a:pt x="316" y="1353"/>
                  </a:lnTo>
                  <a:lnTo>
                    <a:pt x="316" y="1370"/>
                  </a:lnTo>
                  <a:lnTo>
                    <a:pt x="298" y="1405"/>
                  </a:lnTo>
                  <a:lnTo>
                    <a:pt x="281" y="1441"/>
                  </a:lnTo>
                  <a:lnTo>
                    <a:pt x="281" y="1476"/>
                  </a:lnTo>
                  <a:lnTo>
                    <a:pt x="281" y="1528"/>
                  </a:lnTo>
                  <a:lnTo>
                    <a:pt x="211" y="1634"/>
                  </a:lnTo>
                  <a:lnTo>
                    <a:pt x="193" y="1651"/>
                  </a:lnTo>
                  <a:lnTo>
                    <a:pt x="175" y="1669"/>
                  </a:lnTo>
                  <a:lnTo>
                    <a:pt x="158" y="1686"/>
                  </a:lnTo>
                  <a:lnTo>
                    <a:pt x="158" y="1704"/>
                  </a:lnTo>
                  <a:lnTo>
                    <a:pt x="158" y="1739"/>
                  </a:lnTo>
                  <a:lnTo>
                    <a:pt x="175" y="1774"/>
                  </a:lnTo>
                  <a:lnTo>
                    <a:pt x="193" y="1809"/>
                  </a:lnTo>
                  <a:lnTo>
                    <a:pt x="211" y="1845"/>
                  </a:lnTo>
                  <a:lnTo>
                    <a:pt x="193" y="1880"/>
                  </a:lnTo>
                  <a:lnTo>
                    <a:pt x="228" y="1967"/>
                  </a:lnTo>
                  <a:lnTo>
                    <a:pt x="246" y="2003"/>
                  </a:lnTo>
                  <a:lnTo>
                    <a:pt x="281" y="2020"/>
                  </a:lnTo>
                  <a:lnTo>
                    <a:pt x="298" y="2020"/>
                  </a:lnTo>
                  <a:lnTo>
                    <a:pt x="334" y="2003"/>
                  </a:lnTo>
                  <a:lnTo>
                    <a:pt x="351" y="1932"/>
                  </a:lnTo>
                  <a:lnTo>
                    <a:pt x="386" y="1950"/>
                  </a:lnTo>
                  <a:lnTo>
                    <a:pt x="404" y="1915"/>
                  </a:lnTo>
                  <a:lnTo>
                    <a:pt x="386" y="1880"/>
                  </a:lnTo>
                  <a:lnTo>
                    <a:pt x="421" y="1880"/>
                  </a:lnTo>
                  <a:lnTo>
                    <a:pt x="439" y="1897"/>
                  </a:lnTo>
                  <a:lnTo>
                    <a:pt x="457" y="1915"/>
                  </a:lnTo>
                  <a:lnTo>
                    <a:pt x="474" y="1932"/>
                  </a:lnTo>
                  <a:lnTo>
                    <a:pt x="492" y="1950"/>
                  </a:lnTo>
                  <a:lnTo>
                    <a:pt x="544" y="1932"/>
                  </a:lnTo>
                  <a:lnTo>
                    <a:pt x="580" y="1915"/>
                  </a:lnTo>
                  <a:lnTo>
                    <a:pt x="615" y="1932"/>
                  </a:lnTo>
                  <a:lnTo>
                    <a:pt x="632" y="1950"/>
                  </a:lnTo>
                  <a:lnTo>
                    <a:pt x="650" y="2003"/>
                  </a:lnTo>
                  <a:lnTo>
                    <a:pt x="632" y="2090"/>
                  </a:lnTo>
                  <a:lnTo>
                    <a:pt x="615" y="2143"/>
                  </a:lnTo>
                  <a:lnTo>
                    <a:pt x="632" y="2196"/>
                  </a:lnTo>
                  <a:lnTo>
                    <a:pt x="667" y="2231"/>
                  </a:lnTo>
                  <a:lnTo>
                    <a:pt x="738" y="2249"/>
                  </a:lnTo>
                  <a:lnTo>
                    <a:pt x="790" y="2249"/>
                  </a:lnTo>
                  <a:lnTo>
                    <a:pt x="843" y="2231"/>
                  </a:lnTo>
                  <a:lnTo>
                    <a:pt x="861" y="2196"/>
                  </a:lnTo>
                  <a:lnTo>
                    <a:pt x="913" y="2196"/>
                  </a:lnTo>
                  <a:lnTo>
                    <a:pt x="966" y="2178"/>
                  </a:lnTo>
                  <a:lnTo>
                    <a:pt x="1001" y="2178"/>
                  </a:lnTo>
                  <a:lnTo>
                    <a:pt x="1036" y="2143"/>
                  </a:lnTo>
                  <a:lnTo>
                    <a:pt x="1089" y="2073"/>
                  </a:lnTo>
                  <a:lnTo>
                    <a:pt x="1247" y="2143"/>
                  </a:lnTo>
                  <a:lnTo>
                    <a:pt x="1388" y="2143"/>
                  </a:lnTo>
                  <a:lnTo>
                    <a:pt x="1388" y="2161"/>
                  </a:lnTo>
                  <a:lnTo>
                    <a:pt x="1405" y="2178"/>
                  </a:lnTo>
                  <a:lnTo>
                    <a:pt x="1423" y="2231"/>
                  </a:lnTo>
                  <a:lnTo>
                    <a:pt x="1440" y="2213"/>
                  </a:lnTo>
                  <a:lnTo>
                    <a:pt x="1475" y="2213"/>
                  </a:lnTo>
                  <a:lnTo>
                    <a:pt x="1493" y="2213"/>
                  </a:lnTo>
                  <a:lnTo>
                    <a:pt x="1493" y="2249"/>
                  </a:lnTo>
                  <a:lnTo>
                    <a:pt x="1563" y="2284"/>
                  </a:lnTo>
                  <a:lnTo>
                    <a:pt x="1616" y="2301"/>
                  </a:lnTo>
                  <a:lnTo>
                    <a:pt x="1651" y="2301"/>
                  </a:lnTo>
                  <a:lnTo>
                    <a:pt x="1669" y="2266"/>
                  </a:lnTo>
                  <a:lnTo>
                    <a:pt x="1669" y="2231"/>
                  </a:lnTo>
                  <a:lnTo>
                    <a:pt x="1686" y="2213"/>
                  </a:lnTo>
                  <a:lnTo>
                    <a:pt x="1686" y="2196"/>
                  </a:lnTo>
                  <a:lnTo>
                    <a:pt x="1686" y="2161"/>
                  </a:lnTo>
                  <a:lnTo>
                    <a:pt x="1651" y="2126"/>
                  </a:lnTo>
                  <a:lnTo>
                    <a:pt x="1616" y="2090"/>
                  </a:lnTo>
                  <a:lnTo>
                    <a:pt x="1634" y="2073"/>
                  </a:lnTo>
                  <a:lnTo>
                    <a:pt x="1651" y="2055"/>
                  </a:lnTo>
                  <a:lnTo>
                    <a:pt x="1669" y="2038"/>
                  </a:lnTo>
                  <a:lnTo>
                    <a:pt x="1686" y="2003"/>
                  </a:lnTo>
                  <a:lnTo>
                    <a:pt x="1669" y="1967"/>
                  </a:lnTo>
                  <a:lnTo>
                    <a:pt x="1651" y="1950"/>
                  </a:lnTo>
                  <a:lnTo>
                    <a:pt x="1563" y="1950"/>
                  </a:lnTo>
                  <a:lnTo>
                    <a:pt x="1546" y="1915"/>
                  </a:lnTo>
                  <a:lnTo>
                    <a:pt x="1546" y="1845"/>
                  </a:lnTo>
                  <a:lnTo>
                    <a:pt x="1563" y="1792"/>
                  </a:lnTo>
                  <a:lnTo>
                    <a:pt x="1581" y="1757"/>
                  </a:lnTo>
                  <a:lnTo>
                    <a:pt x="1563" y="1757"/>
                  </a:lnTo>
                  <a:lnTo>
                    <a:pt x="1546" y="1739"/>
                  </a:lnTo>
                  <a:lnTo>
                    <a:pt x="1581" y="1704"/>
                  </a:lnTo>
                  <a:lnTo>
                    <a:pt x="1616" y="1669"/>
                  </a:lnTo>
                  <a:lnTo>
                    <a:pt x="1634" y="1669"/>
                  </a:lnTo>
                  <a:lnTo>
                    <a:pt x="1634" y="1634"/>
                  </a:lnTo>
                  <a:lnTo>
                    <a:pt x="1651" y="1599"/>
                  </a:lnTo>
                  <a:lnTo>
                    <a:pt x="1669" y="1581"/>
                  </a:lnTo>
                  <a:lnTo>
                    <a:pt x="1669" y="1546"/>
                  </a:lnTo>
                  <a:lnTo>
                    <a:pt x="1651" y="1528"/>
                  </a:lnTo>
                  <a:lnTo>
                    <a:pt x="1651" y="1511"/>
                  </a:lnTo>
                  <a:lnTo>
                    <a:pt x="1651" y="1476"/>
                  </a:lnTo>
                  <a:lnTo>
                    <a:pt x="1669" y="1458"/>
                  </a:lnTo>
                  <a:lnTo>
                    <a:pt x="1651" y="1423"/>
                  </a:lnTo>
                  <a:lnTo>
                    <a:pt x="1634" y="1405"/>
                  </a:lnTo>
                  <a:lnTo>
                    <a:pt x="1616" y="1388"/>
                  </a:lnTo>
                  <a:lnTo>
                    <a:pt x="1598" y="1353"/>
                  </a:lnTo>
                  <a:lnTo>
                    <a:pt x="1616" y="1318"/>
                  </a:lnTo>
                  <a:lnTo>
                    <a:pt x="1634" y="1282"/>
                  </a:lnTo>
                  <a:lnTo>
                    <a:pt x="1616" y="1247"/>
                  </a:lnTo>
                  <a:lnTo>
                    <a:pt x="1616" y="1230"/>
                  </a:lnTo>
                  <a:lnTo>
                    <a:pt x="1598" y="1212"/>
                  </a:lnTo>
                  <a:lnTo>
                    <a:pt x="1598" y="1177"/>
                  </a:lnTo>
                  <a:lnTo>
                    <a:pt x="1616" y="1160"/>
                  </a:lnTo>
                  <a:lnTo>
                    <a:pt x="1651" y="1142"/>
                  </a:lnTo>
                  <a:lnTo>
                    <a:pt x="1704" y="1142"/>
                  </a:lnTo>
                  <a:lnTo>
                    <a:pt x="1721" y="1107"/>
                  </a:lnTo>
                  <a:lnTo>
                    <a:pt x="1721" y="1089"/>
                  </a:lnTo>
                  <a:lnTo>
                    <a:pt x="1686" y="1089"/>
                  </a:lnTo>
                  <a:lnTo>
                    <a:pt x="1651" y="1089"/>
                  </a:lnTo>
                  <a:lnTo>
                    <a:pt x="1581" y="1072"/>
                  </a:lnTo>
                  <a:lnTo>
                    <a:pt x="1546" y="1072"/>
                  </a:lnTo>
                  <a:lnTo>
                    <a:pt x="1493" y="1072"/>
                  </a:lnTo>
                  <a:lnTo>
                    <a:pt x="1493" y="949"/>
                  </a:lnTo>
                  <a:lnTo>
                    <a:pt x="1493" y="914"/>
                  </a:lnTo>
                  <a:lnTo>
                    <a:pt x="1511" y="896"/>
                  </a:lnTo>
                  <a:lnTo>
                    <a:pt x="1546" y="861"/>
                  </a:lnTo>
                  <a:lnTo>
                    <a:pt x="1528" y="808"/>
                  </a:lnTo>
                  <a:lnTo>
                    <a:pt x="1493" y="773"/>
                  </a:lnTo>
                  <a:lnTo>
                    <a:pt x="1458" y="738"/>
                  </a:lnTo>
                  <a:lnTo>
                    <a:pt x="1440" y="685"/>
                  </a:lnTo>
                  <a:lnTo>
                    <a:pt x="1440" y="650"/>
                  </a:lnTo>
                  <a:lnTo>
                    <a:pt x="1440" y="597"/>
                  </a:lnTo>
                  <a:lnTo>
                    <a:pt x="1440" y="580"/>
                  </a:lnTo>
                  <a:lnTo>
                    <a:pt x="1423" y="580"/>
                  </a:lnTo>
                  <a:lnTo>
                    <a:pt x="1370" y="562"/>
                  </a:lnTo>
                  <a:lnTo>
                    <a:pt x="1388" y="527"/>
                  </a:lnTo>
                  <a:lnTo>
                    <a:pt x="1405" y="510"/>
                  </a:lnTo>
                  <a:lnTo>
                    <a:pt x="1423" y="492"/>
                  </a:lnTo>
                  <a:lnTo>
                    <a:pt x="1440" y="475"/>
                  </a:lnTo>
                  <a:lnTo>
                    <a:pt x="1423" y="334"/>
                  </a:lnTo>
                  <a:lnTo>
                    <a:pt x="1405" y="229"/>
                  </a:lnTo>
                  <a:lnTo>
                    <a:pt x="1352" y="106"/>
                  </a:lnTo>
                  <a:lnTo>
                    <a:pt x="1300" y="0"/>
                  </a:lnTo>
                  <a:lnTo>
                    <a:pt x="1282" y="18"/>
                  </a:lnTo>
                  <a:lnTo>
                    <a:pt x="1265" y="35"/>
                  </a:lnTo>
                  <a:lnTo>
                    <a:pt x="1265" y="53"/>
                  </a:lnTo>
                  <a:lnTo>
                    <a:pt x="1247" y="71"/>
                  </a:lnTo>
                  <a:lnTo>
                    <a:pt x="1212" y="53"/>
                  </a:lnTo>
                  <a:lnTo>
                    <a:pt x="1194" y="53"/>
                  </a:lnTo>
                  <a:lnTo>
                    <a:pt x="1177" y="71"/>
                  </a:lnTo>
                  <a:lnTo>
                    <a:pt x="1159" y="88"/>
                  </a:lnTo>
                  <a:lnTo>
                    <a:pt x="1124" y="88"/>
                  </a:lnTo>
                  <a:lnTo>
                    <a:pt x="1107" y="88"/>
                  </a:lnTo>
                  <a:lnTo>
                    <a:pt x="1071" y="88"/>
                  </a:lnTo>
                  <a:lnTo>
                    <a:pt x="1001" y="71"/>
                  </a:lnTo>
                  <a:lnTo>
                    <a:pt x="948" y="53"/>
                  </a:lnTo>
                  <a:lnTo>
                    <a:pt x="913" y="71"/>
                  </a:lnTo>
                  <a:lnTo>
                    <a:pt x="878" y="71"/>
                  </a:lnTo>
                  <a:lnTo>
                    <a:pt x="861" y="71"/>
                  </a:lnTo>
                  <a:lnTo>
                    <a:pt x="861" y="53"/>
                  </a:lnTo>
                  <a:lnTo>
                    <a:pt x="843" y="18"/>
                  </a:lnTo>
                  <a:lnTo>
                    <a:pt x="825" y="18"/>
                  </a:lnTo>
                  <a:lnTo>
                    <a:pt x="790" y="18"/>
                  </a:lnTo>
                  <a:lnTo>
                    <a:pt x="773" y="35"/>
                  </a:lnTo>
                  <a:lnTo>
                    <a:pt x="773" y="53"/>
                  </a:lnTo>
                  <a:lnTo>
                    <a:pt x="755" y="71"/>
                  </a:lnTo>
                  <a:lnTo>
                    <a:pt x="720" y="53"/>
                  </a:lnTo>
                  <a:lnTo>
                    <a:pt x="650" y="71"/>
                  </a:lnTo>
                  <a:lnTo>
                    <a:pt x="597" y="106"/>
                  </a:lnTo>
                  <a:lnTo>
                    <a:pt x="544" y="158"/>
                  </a:lnTo>
                  <a:lnTo>
                    <a:pt x="509" y="194"/>
                  </a:lnTo>
                  <a:lnTo>
                    <a:pt x="439" y="316"/>
                  </a:lnTo>
                  <a:lnTo>
                    <a:pt x="421" y="369"/>
                  </a:lnTo>
                  <a:lnTo>
                    <a:pt x="421" y="387"/>
                  </a:lnTo>
                  <a:lnTo>
                    <a:pt x="404" y="387"/>
                  </a:lnTo>
                  <a:lnTo>
                    <a:pt x="369" y="387"/>
                  </a:lnTo>
                  <a:lnTo>
                    <a:pt x="334" y="404"/>
                  </a:lnTo>
                  <a:lnTo>
                    <a:pt x="316" y="457"/>
                  </a:lnTo>
                  <a:lnTo>
                    <a:pt x="228" y="580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09" name="Freeform 89"/>
            <p:cNvSpPr>
              <a:spLocks/>
            </p:cNvSpPr>
            <p:nvPr/>
          </p:nvSpPr>
          <p:spPr bwMode="auto">
            <a:xfrm>
              <a:off x="4629543" y="2391250"/>
              <a:ext cx="1394914" cy="1448437"/>
            </a:xfrm>
            <a:custGeom>
              <a:avLst/>
              <a:gdLst>
                <a:gd name="T0" fmla="*/ 369 w 2301"/>
                <a:gd name="T1" fmla="*/ 2389 h 2389"/>
                <a:gd name="T2" fmla="*/ 474 w 2301"/>
                <a:gd name="T3" fmla="*/ 2249 h 2389"/>
                <a:gd name="T4" fmla="*/ 579 w 2301"/>
                <a:gd name="T5" fmla="*/ 2354 h 2389"/>
                <a:gd name="T6" fmla="*/ 896 w 2301"/>
                <a:gd name="T7" fmla="*/ 2389 h 2389"/>
                <a:gd name="T8" fmla="*/ 1054 w 2301"/>
                <a:gd name="T9" fmla="*/ 2161 h 2389"/>
                <a:gd name="T10" fmla="*/ 1124 w 2301"/>
                <a:gd name="T11" fmla="*/ 2090 h 2389"/>
                <a:gd name="T12" fmla="*/ 1335 w 2301"/>
                <a:gd name="T13" fmla="*/ 1845 h 2389"/>
                <a:gd name="T14" fmla="*/ 1458 w 2301"/>
                <a:gd name="T15" fmla="*/ 1809 h 2389"/>
                <a:gd name="T16" fmla="*/ 1546 w 2301"/>
                <a:gd name="T17" fmla="*/ 1845 h 2389"/>
                <a:gd name="T18" fmla="*/ 1686 w 2301"/>
                <a:gd name="T19" fmla="*/ 1845 h 2389"/>
                <a:gd name="T20" fmla="*/ 1844 w 2301"/>
                <a:gd name="T21" fmla="*/ 1862 h 2389"/>
                <a:gd name="T22" fmla="*/ 1932 w 2301"/>
                <a:gd name="T23" fmla="*/ 1845 h 2389"/>
                <a:gd name="T24" fmla="*/ 2020 w 2301"/>
                <a:gd name="T25" fmla="*/ 1757 h 2389"/>
                <a:gd name="T26" fmla="*/ 2178 w 2301"/>
                <a:gd name="T27" fmla="*/ 1634 h 2389"/>
                <a:gd name="T28" fmla="*/ 2231 w 2301"/>
                <a:gd name="T29" fmla="*/ 1388 h 2389"/>
                <a:gd name="T30" fmla="*/ 2301 w 2301"/>
                <a:gd name="T31" fmla="*/ 1283 h 2389"/>
                <a:gd name="T32" fmla="*/ 2231 w 2301"/>
                <a:gd name="T33" fmla="*/ 1142 h 2389"/>
                <a:gd name="T34" fmla="*/ 2090 w 2301"/>
                <a:gd name="T35" fmla="*/ 1001 h 2389"/>
                <a:gd name="T36" fmla="*/ 2055 w 2301"/>
                <a:gd name="T37" fmla="*/ 826 h 2389"/>
                <a:gd name="T38" fmla="*/ 2002 w 2301"/>
                <a:gd name="T39" fmla="*/ 738 h 2389"/>
                <a:gd name="T40" fmla="*/ 2002 w 2301"/>
                <a:gd name="T41" fmla="*/ 843 h 2389"/>
                <a:gd name="T42" fmla="*/ 1827 w 2301"/>
                <a:gd name="T43" fmla="*/ 1019 h 2389"/>
                <a:gd name="T44" fmla="*/ 2037 w 2301"/>
                <a:gd name="T45" fmla="*/ 598 h 2389"/>
                <a:gd name="T46" fmla="*/ 1915 w 2301"/>
                <a:gd name="T47" fmla="*/ 176 h 2389"/>
                <a:gd name="T48" fmla="*/ 1721 w 2301"/>
                <a:gd name="T49" fmla="*/ 176 h 2389"/>
                <a:gd name="T50" fmla="*/ 1633 w 2301"/>
                <a:gd name="T51" fmla="*/ 211 h 2389"/>
                <a:gd name="T52" fmla="*/ 1510 w 2301"/>
                <a:gd name="T53" fmla="*/ 123 h 2389"/>
                <a:gd name="T54" fmla="*/ 1546 w 2301"/>
                <a:gd name="T55" fmla="*/ 18 h 2389"/>
                <a:gd name="T56" fmla="*/ 1440 w 2301"/>
                <a:gd name="T57" fmla="*/ 18 h 2389"/>
                <a:gd name="T58" fmla="*/ 1352 w 2301"/>
                <a:gd name="T59" fmla="*/ 246 h 2389"/>
                <a:gd name="T60" fmla="*/ 1247 w 2301"/>
                <a:gd name="T61" fmla="*/ 316 h 2389"/>
                <a:gd name="T62" fmla="*/ 1212 w 2301"/>
                <a:gd name="T63" fmla="*/ 387 h 2389"/>
                <a:gd name="T64" fmla="*/ 1142 w 2301"/>
                <a:gd name="T65" fmla="*/ 422 h 2389"/>
                <a:gd name="T66" fmla="*/ 1036 w 2301"/>
                <a:gd name="T67" fmla="*/ 422 h 2389"/>
                <a:gd name="T68" fmla="*/ 966 w 2301"/>
                <a:gd name="T69" fmla="*/ 492 h 2389"/>
                <a:gd name="T70" fmla="*/ 773 w 2301"/>
                <a:gd name="T71" fmla="*/ 580 h 2389"/>
                <a:gd name="T72" fmla="*/ 614 w 2301"/>
                <a:gd name="T73" fmla="*/ 931 h 2389"/>
                <a:gd name="T74" fmla="*/ 281 w 2301"/>
                <a:gd name="T75" fmla="*/ 966 h 2389"/>
                <a:gd name="T76" fmla="*/ 210 w 2301"/>
                <a:gd name="T77" fmla="*/ 1124 h 2389"/>
                <a:gd name="T78" fmla="*/ 246 w 2301"/>
                <a:gd name="T79" fmla="*/ 1283 h 2389"/>
                <a:gd name="T80" fmla="*/ 316 w 2301"/>
                <a:gd name="T81" fmla="*/ 1353 h 2389"/>
                <a:gd name="T82" fmla="*/ 316 w 2301"/>
                <a:gd name="T83" fmla="*/ 1528 h 2389"/>
                <a:gd name="T84" fmla="*/ 298 w 2301"/>
                <a:gd name="T85" fmla="*/ 1757 h 2389"/>
                <a:gd name="T86" fmla="*/ 298 w 2301"/>
                <a:gd name="T87" fmla="*/ 1581 h 2389"/>
                <a:gd name="T88" fmla="*/ 281 w 2301"/>
                <a:gd name="T89" fmla="*/ 1493 h 2389"/>
                <a:gd name="T90" fmla="*/ 228 w 2301"/>
                <a:gd name="T91" fmla="*/ 1388 h 2389"/>
                <a:gd name="T92" fmla="*/ 70 w 2301"/>
                <a:gd name="T93" fmla="*/ 1212 h 2389"/>
                <a:gd name="T94" fmla="*/ 52 w 2301"/>
                <a:gd name="T95" fmla="*/ 1300 h 2389"/>
                <a:gd name="T96" fmla="*/ 105 w 2301"/>
                <a:gd name="T97" fmla="*/ 1423 h 2389"/>
                <a:gd name="T98" fmla="*/ 140 w 2301"/>
                <a:gd name="T99" fmla="*/ 1564 h 2389"/>
                <a:gd name="T100" fmla="*/ 17 w 2301"/>
                <a:gd name="T101" fmla="*/ 1739 h 2389"/>
                <a:gd name="T102" fmla="*/ 105 w 2301"/>
                <a:gd name="T103" fmla="*/ 1932 h 2389"/>
                <a:gd name="T104" fmla="*/ 246 w 2301"/>
                <a:gd name="T105" fmla="*/ 2003 h 2389"/>
                <a:gd name="T106" fmla="*/ 228 w 2301"/>
                <a:gd name="T107" fmla="*/ 2126 h 238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01"/>
                <a:gd name="T163" fmla="*/ 0 h 2389"/>
                <a:gd name="T164" fmla="*/ 2301 w 2301"/>
                <a:gd name="T165" fmla="*/ 2389 h 238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01" h="2389">
                  <a:moveTo>
                    <a:pt x="228" y="2143"/>
                  </a:moveTo>
                  <a:lnTo>
                    <a:pt x="228" y="2143"/>
                  </a:lnTo>
                  <a:lnTo>
                    <a:pt x="281" y="2284"/>
                  </a:lnTo>
                  <a:lnTo>
                    <a:pt x="333" y="2354"/>
                  </a:lnTo>
                  <a:lnTo>
                    <a:pt x="351" y="2371"/>
                  </a:lnTo>
                  <a:lnTo>
                    <a:pt x="369" y="2389"/>
                  </a:lnTo>
                  <a:lnTo>
                    <a:pt x="386" y="2371"/>
                  </a:lnTo>
                  <a:lnTo>
                    <a:pt x="404" y="2354"/>
                  </a:lnTo>
                  <a:lnTo>
                    <a:pt x="421" y="2319"/>
                  </a:lnTo>
                  <a:lnTo>
                    <a:pt x="456" y="2266"/>
                  </a:lnTo>
                  <a:lnTo>
                    <a:pt x="474" y="2249"/>
                  </a:lnTo>
                  <a:lnTo>
                    <a:pt x="492" y="2249"/>
                  </a:lnTo>
                  <a:lnTo>
                    <a:pt x="527" y="2249"/>
                  </a:lnTo>
                  <a:lnTo>
                    <a:pt x="544" y="2266"/>
                  </a:lnTo>
                  <a:lnTo>
                    <a:pt x="562" y="2319"/>
                  </a:lnTo>
                  <a:lnTo>
                    <a:pt x="579" y="2354"/>
                  </a:lnTo>
                  <a:lnTo>
                    <a:pt x="597" y="2371"/>
                  </a:lnTo>
                  <a:lnTo>
                    <a:pt x="614" y="2389"/>
                  </a:lnTo>
                  <a:lnTo>
                    <a:pt x="755" y="2371"/>
                  </a:lnTo>
                  <a:lnTo>
                    <a:pt x="825" y="2371"/>
                  </a:lnTo>
                  <a:lnTo>
                    <a:pt x="896" y="2389"/>
                  </a:lnTo>
                  <a:lnTo>
                    <a:pt x="913" y="2354"/>
                  </a:lnTo>
                  <a:lnTo>
                    <a:pt x="1001" y="2231"/>
                  </a:lnTo>
                  <a:lnTo>
                    <a:pt x="1019" y="2178"/>
                  </a:lnTo>
                  <a:lnTo>
                    <a:pt x="1054" y="2161"/>
                  </a:lnTo>
                  <a:lnTo>
                    <a:pt x="1089" y="2161"/>
                  </a:lnTo>
                  <a:lnTo>
                    <a:pt x="1106" y="2161"/>
                  </a:lnTo>
                  <a:lnTo>
                    <a:pt x="1106" y="2143"/>
                  </a:lnTo>
                  <a:lnTo>
                    <a:pt x="1124" y="2090"/>
                  </a:lnTo>
                  <a:lnTo>
                    <a:pt x="1194" y="1968"/>
                  </a:lnTo>
                  <a:lnTo>
                    <a:pt x="1229" y="1932"/>
                  </a:lnTo>
                  <a:lnTo>
                    <a:pt x="1282" y="1880"/>
                  </a:lnTo>
                  <a:lnTo>
                    <a:pt x="1335" y="1845"/>
                  </a:lnTo>
                  <a:lnTo>
                    <a:pt x="1405" y="1827"/>
                  </a:lnTo>
                  <a:lnTo>
                    <a:pt x="1440" y="1845"/>
                  </a:lnTo>
                  <a:lnTo>
                    <a:pt x="1458" y="1827"/>
                  </a:lnTo>
                  <a:lnTo>
                    <a:pt x="1458" y="1809"/>
                  </a:lnTo>
                  <a:lnTo>
                    <a:pt x="1475" y="1792"/>
                  </a:lnTo>
                  <a:lnTo>
                    <a:pt x="1510" y="1792"/>
                  </a:lnTo>
                  <a:lnTo>
                    <a:pt x="1528" y="1792"/>
                  </a:lnTo>
                  <a:lnTo>
                    <a:pt x="1546" y="1827"/>
                  </a:lnTo>
                  <a:lnTo>
                    <a:pt x="1546" y="1845"/>
                  </a:lnTo>
                  <a:lnTo>
                    <a:pt x="1563" y="1845"/>
                  </a:lnTo>
                  <a:lnTo>
                    <a:pt x="1598" y="1845"/>
                  </a:lnTo>
                  <a:lnTo>
                    <a:pt x="1633" y="1827"/>
                  </a:lnTo>
                  <a:lnTo>
                    <a:pt x="1686" y="1845"/>
                  </a:lnTo>
                  <a:lnTo>
                    <a:pt x="1756" y="1862"/>
                  </a:lnTo>
                  <a:lnTo>
                    <a:pt x="1792" y="1862"/>
                  </a:lnTo>
                  <a:lnTo>
                    <a:pt x="1809" y="1862"/>
                  </a:lnTo>
                  <a:lnTo>
                    <a:pt x="1844" y="1862"/>
                  </a:lnTo>
                  <a:lnTo>
                    <a:pt x="1862" y="1845"/>
                  </a:lnTo>
                  <a:lnTo>
                    <a:pt x="1879" y="1827"/>
                  </a:lnTo>
                  <a:lnTo>
                    <a:pt x="1897" y="1827"/>
                  </a:lnTo>
                  <a:lnTo>
                    <a:pt x="1932" y="1845"/>
                  </a:lnTo>
                  <a:lnTo>
                    <a:pt x="1950" y="1827"/>
                  </a:lnTo>
                  <a:lnTo>
                    <a:pt x="1950" y="1809"/>
                  </a:lnTo>
                  <a:lnTo>
                    <a:pt x="1967" y="1792"/>
                  </a:lnTo>
                  <a:lnTo>
                    <a:pt x="1985" y="1774"/>
                  </a:lnTo>
                  <a:lnTo>
                    <a:pt x="2020" y="1757"/>
                  </a:lnTo>
                  <a:lnTo>
                    <a:pt x="2037" y="1722"/>
                  </a:lnTo>
                  <a:lnTo>
                    <a:pt x="2090" y="1669"/>
                  </a:lnTo>
                  <a:lnTo>
                    <a:pt x="2143" y="1669"/>
                  </a:lnTo>
                  <a:lnTo>
                    <a:pt x="2160" y="1669"/>
                  </a:lnTo>
                  <a:lnTo>
                    <a:pt x="2178" y="1634"/>
                  </a:lnTo>
                  <a:lnTo>
                    <a:pt x="2160" y="1599"/>
                  </a:lnTo>
                  <a:lnTo>
                    <a:pt x="2143" y="1581"/>
                  </a:lnTo>
                  <a:lnTo>
                    <a:pt x="2231" y="1388"/>
                  </a:lnTo>
                  <a:lnTo>
                    <a:pt x="2266" y="1370"/>
                  </a:lnTo>
                  <a:lnTo>
                    <a:pt x="2301" y="1335"/>
                  </a:lnTo>
                  <a:lnTo>
                    <a:pt x="2301" y="1318"/>
                  </a:lnTo>
                  <a:lnTo>
                    <a:pt x="2301" y="1283"/>
                  </a:lnTo>
                  <a:lnTo>
                    <a:pt x="2283" y="1265"/>
                  </a:lnTo>
                  <a:lnTo>
                    <a:pt x="2248" y="1247"/>
                  </a:lnTo>
                  <a:lnTo>
                    <a:pt x="2231" y="1212"/>
                  </a:lnTo>
                  <a:lnTo>
                    <a:pt x="2231" y="1177"/>
                  </a:lnTo>
                  <a:lnTo>
                    <a:pt x="2231" y="1142"/>
                  </a:lnTo>
                  <a:lnTo>
                    <a:pt x="2213" y="1124"/>
                  </a:lnTo>
                  <a:lnTo>
                    <a:pt x="2143" y="1054"/>
                  </a:lnTo>
                  <a:lnTo>
                    <a:pt x="2125" y="1037"/>
                  </a:lnTo>
                  <a:lnTo>
                    <a:pt x="2090" y="1001"/>
                  </a:lnTo>
                  <a:lnTo>
                    <a:pt x="2073" y="931"/>
                  </a:lnTo>
                  <a:lnTo>
                    <a:pt x="2055" y="914"/>
                  </a:lnTo>
                  <a:lnTo>
                    <a:pt x="2020" y="896"/>
                  </a:lnTo>
                  <a:lnTo>
                    <a:pt x="2055" y="826"/>
                  </a:lnTo>
                  <a:lnTo>
                    <a:pt x="2055" y="773"/>
                  </a:lnTo>
                  <a:lnTo>
                    <a:pt x="2037" y="773"/>
                  </a:lnTo>
                  <a:lnTo>
                    <a:pt x="2002" y="738"/>
                  </a:lnTo>
                  <a:lnTo>
                    <a:pt x="1967" y="756"/>
                  </a:lnTo>
                  <a:lnTo>
                    <a:pt x="1950" y="773"/>
                  </a:lnTo>
                  <a:lnTo>
                    <a:pt x="1950" y="791"/>
                  </a:lnTo>
                  <a:lnTo>
                    <a:pt x="1967" y="808"/>
                  </a:lnTo>
                  <a:lnTo>
                    <a:pt x="2002" y="843"/>
                  </a:lnTo>
                  <a:lnTo>
                    <a:pt x="2002" y="861"/>
                  </a:lnTo>
                  <a:lnTo>
                    <a:pt x="1950" y="931"/>
                  </a:lnTo>
                  <a:lnTo>
                    <a:pt x="1879" y="984"/>
                  </a:lnTo>
                  <a:lnTo>
                    <a:pt x="1827" y="1019"/>
                  </a:lnTo>
                  <a:lnTo>
                    <a:pt x="1774" y="1054"/>
                  </a:lnTo>
                  <a:lnTo>
                    <a:pt x="1792" y="1001"/>
                  </a:lnTo>
                  <a:lnTo>
                    <a:pt x="1827" y="931"/>
                  </a:lnTo>
                  <a:lnTo>
                    <a:pt x="1932" y="773"/>
                  </a:lnTo>
                  <a:lnTo>
                    <a:pt x="2037" y="598"/>
                  </a:lnTo>
                  <a:lnTo>
                    <a:pt x="2073" y="492"/>
                  </a:lnTo>
                  <a:lnTo>
                    <a:pt x="2073" y="404"/>
                  </a:lnTo>
                  <a:lnTo>
                    <a:pt x="2055" y="334"/>
                  </a:lnTo>
                  <a:lnTo>
                    <a:pt x="2002" y="246"/>
                  </a:lnTo>
                  <a:lnTo>
                    <a:pt x="1915" y="176"/>
                  </a:lnTo>
                  <a:lnTo>
                    <a:pt x="1879" y="158"/>
                  </a:lnTo>
                  <a:lnTo>
                    <a:pt x="1844" y="141"/>
                  </a:lnTo>
                  <a:lnTo>
                    <a:pt x="1774" y="158"/>
                  </a:lnTo>
                  <a:lnTo>
                    <a:pt x="1721" y="176"/>
                  </a:lnTo>
                  <a:lnTo>
                    <a:pt x="1704" y="211"/>
                  </a:lnTo>
                  <a:lnTo>
                    <a:pt x="1686" y="246"/>
                  </a:lnTo>
                  <a:lnTo>
                    <a:pt x="1633" y="246"/>
                  </a:lnTo>
                  <a:lnTo>
                    <a:pt x="1633" y="229"/>
                  </a:lnTo>
                  <a:lnTo>
                    <a:pt x="1633" y="211"/>
                  </a:lnTo>
                  <a:lnTo>
                    <a:pt x="1669" y="158"/>
                  </a:lnTo>
                  <a:lnTo>
                    <a:pt x="1669" y="141"/>
                  </a:lnTo>
                  <a:lnTo>
                    <a:pt x="1633" y="123"/>
                  </a:lnTo>
                  <a:lnTo>
                    <a:pt x="1598" y="106"/>
                  </a:lnTo>
                  <a:lnTo>
                    <a:pt x="1510" y="123"/>
                  </a:lnTo>
                  <a:lnTo>
                    <a:pt x="1510" y="106"/>
                  </a:lnTo>
                  <a:lnTo>
                    <a:pt x="1546" y="88"/>
                  </a:lnTo>
                  <a:lnTo>
                    <a:pt x="1563" y="53"/>
                  </a:lnTo>
                  <a:lnTo>
                    <a:pt x="1563" y="35"/>
                  </a:lnTo>
                  <a:lnTo>
                    <a:pt x="1546" y="18"/>
                  </a:lnTo>
                  <a:lnTo>
                    <a:pt x="1493" y="0"/>
                  </a:lnTo>
                  <a:lnTo>
                    <a:pt x="1458" y="0"/>
                  </a:lnTo>
                  <a:lnTo>
                    <a:pt x="1440" y="0"/>
                  </a:lnTo>
                  <a:lnTo>
                    <a:pt x="1440" y="18"/>
                  </a:lnTo>
                  <a:lnTo>
                    <a:pt x="1387" y="88"/>
                  </a:lnTo>
                  <a:lnTo>
                    <a:pt x="1335" y="176"/>
                  </a:lnTo>
                  <a:lnTo>
                    <a:pt x="1335" y="194"/>
                  </a:lnTo>
                  <a:lnTo>
                    <a:pt x="1335" y="211"/>
                  </a:lnTo>
                  <a:lnTo>
                    <a:pt x="1352" y="246"/>
                  </a:lnTo>
                  <a:lnTo>
                    <a:pt x="1352" y="281"/>
                  </a:lnTo>
                  <a:lnTo>
                    <a:pt x="1335" y="299"/>
                  </a:lnTo>
                  <a:lnTo>
                    <a:pt x="1300" y="316"/>
                  </a:lnTo>
                  <a:lnTo>
                    <a:pt x="1247" y="316"/>
                  </a:lnTo>
                  <a:lnTo>
                    <a:pt x="1247" y="334"/>
                  </a:lnTo>
                  <a:lnTo>
                    <a:pt x="1300" y="404"/>
                  </a:lnTo>
                  <a:lnTo>
                    <a:pt x="1247" y="387"/>
                  </a:lnTo>
                  <a:lnTo>
                    <a:pt x="1212" y="387"/>
                  </a:lnTo>
                  <a:lnTo>
                    <a:pt x="1177" y="422"/>
                  </a:lnTo>
                  <a:lnTo>
                    <a:pt x="1159" y="457"/>
                  </a:lnTo>
                  <a:lnTo>
                    <a:pt x="1124" y="475"/>
                  </a:lnTo>
                  <a:lnTo>
                    <a:pt x="1124" y="457"/>
                  </a:lnTo>
                  <a:lnTo>
                    <a:pt x="1142" y="422"/>
                  </a:lnTo>
                  <a:lnTo>
                    <a:pt x="1142" y="387"/>
                  </a:lnTo>
                  <a:lnTo>
                    <a:pt x="1124" y="387"/>
                  </a:lnTo>
                  <a:lnTo>
                    <a:pt x="1071" y="404"/>
                  </a:lnTo>
                  <a:lnTo>
                    <a:pt x="1036" y="422"/>
                  </a:lnTo>
                  <a:lnTo>
                    <a:pt x="983" y="439"/>
                  </a:lnTo>
                  <a:lnTo>
                    <a:pt x="931" y="439"/>
                  </a:lnTo>
                  <a:lnTo>
                    <a:pt x="948" y="457"/>
                  </a:lnTo>
                  <a:lnTo>
                    <a:pt x="948" y="492"/>
                  </a:lnTo>
                  <a:lnTo>
                    <a:pt x="966" y="492"/>
                  </a:lnTo>
                  <a:lnTo>
                    <a:pt x="948" y="510"/>
                  </a:lnTo>
                  <a:lnTo>
                    <a:pt x="878" y="527"/>
                  </a:lnTo>
                  <a:lnTo>
                    <a:pt x="825" y="545"/>
                  </a:lnTo>
                  <a:lnTo>
                    <a:pt x="773" y="580"/>
                  </a:lnTo>
                  <a:lnTo>
                    <a:pt x="667" y="668"/>
                  </a:lnTo>
                  <a:lnTo>
                    <a:pt x="597" y="773"/>
                  </a:lnTo>
                  <a:lnTo>
                    <a:pt x="579" y="791"/>
                  </a:lnTo>
                  <a:lnTo>
                    <a:pt x="597" y="843"/>
                  </a:lnTo>
                  <a:lnTo>
                    <a:pt x="614" y="931"/>
                  </a:lnTo>
                  <a:lnTo>
                    <a:pt x="632" y="984"/>
                  </a:lnTo>
                  <a:lnTo>
                    <a:pt x="614" y="984"/>
                  </a:lnTo>
                  <a:lnTo>
                    <a:pt x="579" y="949"/>
                  </a:lnTo>
                  <a:lnTo>
                    <a:pt x="404" y="966"/>
                  </a:lnTo>
                  <a:lnTo>
                    <a:pt x="281" y="966"/>
                  </a:lnTo>
                  <a:lnTo>
                    <a:pt x="210" y="966"/>
                  </a:lnTo>
                  <a:lnTo>
                    <a:pt x="175" y="1001"/>
                  </a:lnTo>
                  <a:lnTo>
                    <a:pt x="175" y="1054"/>
                  </a:lnTo>
                  <a:lnTo>
                    <a:pt x="210" y="1124"/>
                  </a:lnTo>
                  <a:lnTo>
                    <a:pt x="210" y="1160"/>
                  </a:lnTo>
                  <a:lnTo>
                    <a:pt x="193" y="1195"/>
                  </a:lnTo>
                  <a:lnTo>
                    <a:pt x="210" y="1247"/>
                  </a:lnTo>
                  <a:lnTo>
                    <a:pt x="210" y="1265"/>
                  </a:lnTo>
                  <a:lnTo>
                    <a:pt x="246" y="1283"/>
                  </a:lnTo>
                  <a:lnTo>
                    <a:pt x="263" y="1283"/>
                  </a:lnTo>
                  <a:lnTo>
                    <a:pt x="281" y="1318"/>
                  </a:lnTo>
                  <a:lnTo>
                    <a:pt x="298" y="1353"/>
                  </a:lnTo>
                  <a:lnTo>
                    <a:pt x="298" y="1370"/>
                  </a:lnTo>
                  <a:lnTo>
                    <a:pt x="316" y="1353"/>
                  </a:lnTo>
                  <a:lnTo>
                    <a:pt x="351" y="1405"/>
                  </a:lnTo>
                  <a:lnTo>
                    <a:pt x="351" y="1441"/>
                  </a:lnTo>
                  <a:lnTo>
                    <a:pt x="351" y="1476"/>
                  </a:lnTo>
                  <a:lnTo>
                    <a:pt x="316" y="1528"/>
                  </a:lnTo>
                  <a:lnTo>
                    <a:pt x="333" y="1599"/>
                  </a:lnTo>
                  <a:lnTo>
                    <a:pt x="351" y="1651"/>
                  </a:lnTo>
                  <a:lnTo>
                    <a:pt x="351" y="1686"/>
                  </a:lnTo>
                  <a:lnTo>
                    <a:pt x="316" y="1739"/>
                  </a:lnTo>
                  <a:lnTo>
                    <a:pt x="298" y="1757"/>
                  </a:lnTo>
                  <a:lnTo>
                    <a:pt x="281" y="1757"/>
                  </a:lnTo>
                  <a:lnTo>
                    <a:pt x="263" y="1739"/>
                  </a:lnTo>
                  <a:lnTo>
                    <a:pt x="298" y="1616"/>
                  </a:lnTo>
                  <a:lnTo>
                    <a:pt x="298" y="1599"/>
                  </a:lnTo>
                  <a:lnTo>
                    <a:pt x="298" y="1581"/>
                  </a:lnTo>
                  <a:lnTo>
                    <a:pt x="281" y="1581"/>
                  </a:lnTo>
                  <a:lnTo>
                    <a:pt x="263" y="1599"/>
                  </a:lnTo>
                  <a:lnTo>
                    <a:pt x="228" y="1686"/>
                  </a:lnTo>
                  <a:lnTo>
                    <a:pt x="246" y="1599"/>
                  </a:lnTo>
                  <a:lnTo>
                    <a:pt x="281" y="1493"/>
                  </a:lnTo>
                  <a:lnTo>
                    <a:pt x="316" y="1405"/>
                  </a:lnTo>
                  <a:lnTo>
                    <a:pt x="316" y="1388"/>
                  </a:lnTo>
                  <a:lnTo>
                    <a:pt x="298" y="1388"/>
                  </a:lnTo>
                  <a:lnTo>
                    <a:pt x="246" y="1405"/>
                  </a:lnTo>
                  <a:lnTo>
                    <a:pt x="228" y="1388"/>
                  </a:lnTo>
                  <a:lnTo>
                    <a:pt x="210" y="1370"/>
                  </a:lnTo>
                  <a:lnTo>
                    <a:pt x="175" y="1318"/>
                  </a:lnTo>
                  <a:lnTo>
                    <a:pt x="158" y="1300"/>
                  </a:lnTo>
                  <a:lnTo>
                    <a:pt x="70" y="1212"/>
                  </a:lnTo>
                  <a:lnTo>
                    <a:pt x="52" y="1230"/>
                  </a:lnTo>
                  <a:lnTo>
                    <a:pt x="52" y="1247"/>
                  </a:lnTo>
                  <a:lnTo>
                    <a:pt x="52" y="1265"/>
                  </a:lnTo>
                  <a:lnTo>
                    <a:pt x="52" y="1300"/>
                  </a:lnTo>
                  <a:lnTo>
                    <a:pt x="87" y="1300"/>
                  </a:lnTo>
                  <a:lnTo>
                    <a:pt x="123" y="1318"/>
                  </a:lnTo>
                  <a:lnTo>
                    <a:pt x="140" y="1353"/>
                  </a:lnTo>
                  <a:lnTo>
                    <a:pt x="140" y="1405"/>
                  </a:lnTo>
                  <a:lnTo>
                    <a:pt x="105" y="1423"/>
                  </a:lnTo>
                  <a:lnTo>
                    <a:pt x="87" y="1441"/>
                  </a:lnTo>
                  <a:lnTo>
                    <a:pt x="70" y="1458"/>
                  </a:lnTo>
                  <a:lnTo>
                    <a:pt x="87" y="1493"/>
                  </a:lnTo>
                  <a:lnTo>
                    <a:pt x="105" y="1528"/>
                  </a:lnTo>
                  <a:lnTo>
                    <a:pt x="140" y="1564"/>
                  </a:lnTo>
                  <a:lnTo>
                    <a:pt x="140" y="1616"/>
                  </a:lnTo>
                  <a:lnTo>
                    <a:pt x="140" y="1651"/>
                  </a:lnTo>
                  <a:lnTo>
                    <a:pt x="123" y="1686"/>
                  </a:lnTo>
                  <a:lnTo>
                    <a:pt x="70" y="1704"/>
                  </a:lnTo>
                  <a:lnTo>
                    <a:pt x="17" y="1739"/>
                  </a:lnTo>
                  <a:lnTo>
                    <a:pt x="0" y="1774"/>
                  </a:lnTo>
                  <a:lnTo>
                    <a:pt x="0" y="1809"/>
                  </a:lnTo>
                  <a:lnTo>
                    <a:pt x="17" y="1862"/>
                  </a:lnTo>
                  <a:lnTo>
                    <a:pt x="52" y="1897"/>
                  </a:lnTo>
                  <a:lnTo>
                    <a:pt x="105" y="1932"/>
                  </a:lnTo>
                  <a:lnTo>
                    <a:pt x="140" y="1950"/>
                  </a:lnTo>
                  <a:lnTo>
                    <a:pt x="175" y="1950"/>
                  </a:lnTo>
                  <a:lnTo>
                    <a:pt x="228" y="1985"/>
                  </a:lnTo>
                  <a:lnTo>
                    <a:pt x="246" y="2003"/>
                  </a:lnTo>
                  <a:lnTo>
                    <a:pt x="246" y="2038"/>
                  </a:lnTo>
                  <a:lnTo>
                    <a:pt x="246" y="2073"/>
                  </a:lnTo>
                  <a:lnTo>
                    <a:pt x="228" y="2108"/>
                  </a:lnTo>
                  <a:lnTo>
                    <a:pt x="228" y="2126"/>
                  </a:lnTo>
                  <a:lnTo>
                    <a:pt x="228" y="2143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10" name="Freeform 90"/>
            <p:cNvSpPr>
              <a:spLocks/>
            </p:cNvSpPr>
            <p:nvPr/>
          </p:nvSpPr>
          <p:spPr bwMode="auto">
            <a:xfrm>
              <a:off x="3390088" y="3758102"/>
              <a:ext cx="1480391" cy="1096786"/>
            </a:xfrm>
            <a:custGeom>
              <a:avLst/>
              <a:gdLst>
                <a:gd name="T0" fmla="*/ 1317 w 2442"/>
                <a:gd name="T1" fmla="*/ 1809 h 1809"/>
                <a:gd name="T2" fmla="*/ 1388 w 2442"/>
                <a:gd name="T3" fmla="*/ 1668 h 1809"/>
                <a:gd name="T4" fmla="*/ 1458 w 2442"/>
                <a:gd name="T5" fmla="*/ 1615 h 1809"/>
                <a:gd name="T6" fmla="*/ 1563 w 2442"/>
                <a:gd name="T7" fmla="*/ 1422 h 1809"/>
                <a:gd name="T8" fmla="*/ 1686 w 2442"/>
                <a:gd name="T9" fmla="*/ 1440 h 1809"/>
                <a:gd name="T10" fmla="*/ 1774 w 2442"/>
                <a:gd name="T11" fmla="*/ 1440 h 1809"/>
                <a:gd name="T12" fmla="*/ 1950 w 2442"/>
                <a:gd name="T13" fmla="*/ 1492 h 1809"/>
                <a:gd name="T14" fmla="*/ 2055 w 2442"/>
                <a:gd name="T15" fmla="*/ 1528 h 1809"/>
                <a:gd name="T16" fmla="*/ 2178 w 2442"/>
                <a:gd name="T17" fmla="*/ 1457 h 1809"/>
                <a:gd name="T18" fmla="*/ 2248 w 2442"/>
                <a:gd name="T19" fmla="*/ 1492 h 1809"/>
                <a:gd name="T20" fmla="*/ 2301 w 2442"/>
                <a:gd name="T21" fmla="*/ 1457 h 1809"/>
                <a:gd name="T22" fmla="*/ 2442 w 2442"/>
                <a:gd name="T23" fmla="*/ 1352 h 1809"/>
                <a:gd name="T24" fmla="*/ 2319 w 2442"/>
                <a:gd name="T25" fmla="*/ 1247 h 1809"/>
                <a:gd name="T26" fmla="*/ 2248 w 2442"/>
                <a:gd name="T27" fmla="*/ 1141 h 1809"/>
                <a:gd name="T28" fmla="*/ 2178 w 2442"/>
                <a:gd name="T29" fmla="*/ 1124 h 1809"/>
                <a:gd name="T30" fmla="*/ 2108 w 2442"/>
                <a:gd name="T31" fmla="*/ 1071 h 1809"/>
                <a:gd name="T32" fmla="*/ 2055 w 2442"/>
                <a:gd name="T33" fmla="*/ 1071 h 1809"/>
                <a:gd name="T34" fmla="*/ 1985 w 2442"/>
                <a:gd name="T35" fmla="*/ 983 h 1809"/>
                <a:gd name="T36" fmla="*/ 1862 w 2442"/>
                <a:gd name="T37" fmla="*/ 1071 h 1809"/>
                <a:gd name="T38" fmla="*/ 1686 w 2442"/>
                <a:gd name="T39" fmla="*/ 1053 h 1809"/>
                <a:gd name="T40" fmla="*/ 1563 w 2442"/>
                <a:gd name="T41" fmla="*/ 913 h 1809"/>
                <a:gd name="T42" fmla="*/ 1352 w 2442"/>
                <a:gd name="T43" fmla="*/ 860 h 1809"/>
                <a:gd name="T44" fmla="*/ 1177 w 2442"/>
                <a:gd name="T45" fmla="*/ 790 h 1809"/>
                <a:gd name="T46" fmla="*/ 1159 w 2442"/>
                <a:gd name="T47" fmla="*/ 737 h 1809"/>
                <a:gd name="T48" fmla="*/ 1107 w 2442"/>
                <a:gd name="T49" fmla="*/ 597 h 1809"/>
                <a:gd name="T50" fmla="*/ 1089 w 2442"/>
                <a:gd name="T51" fmla="*/ 544 h 1809"/>
                <a:gd name="T52" fmla="*/ 984 w 2442"/>
                <a:gd name="T53" fmla="*/ 491 h 1809"/>
                <a:gd name="T54" fmla="*/ 931 w 2442"/>
                <a:gd name="T55" fmla="*/ 491 h 1809"/>
                <a:gd name="T56" fmla="*/ 861 w 2442"/>
                <a:gd name="T57" fmla="*/ 526 h 1809"/>
                <a:gd name="T58" fmla="*/ 773 w 2442"/>
                <a:gd name="T59" fmla="*/ 368 h 1809"/>
                <a:gd name="T60" fmla="*/ 615 w 2442"/>
                <a:gd name="T61" fmla="*/ 351 h 1809"/>
                <a:gd name="T62" fmla="*/ 527 w 2442"/>
                <a:gd name="T63" fmla="*/ 298 h 1809"/>
                <a:gd name="T64" fmla="*/ 474 w 2442"/>
                <a:gd name="T65" fmla="*/ 228 h 1809"/>
                <a:gd name="T66" fmla="*/ 527 w 2442"/>
                <a:gd name="T67" fmla="*/ 105 h 1809"/>
                <a:gd name="T68" fmla="*/ 509 w 2442"/>
                <a:gd name="T69" fmla="*/ 0 h 1809"/>
                <a:gd name="T70" fmla="*/ 386 w 2442"/>
                <a:gd name="T71" fmla="*/ 87 h 1809"/>
                <a:gd name="T72" fmla="*/ 334 w 2442"/>
                <a:gd name="T73" fmla="*/ 70 h 1809"/>
                <a:gd name="T74" fmla="*/ 228 w 2442"/>
                <a:gd name="T75" fmla="*/ 122 h 1809"/>
                <a:gd name="T76" fmla="*/ 123 w 2442"/>
                <a:gd name="T77" fmla="*/ 333 h 1809"/>
                <a:gd name="T78" fmla="*/ 35 w 2442"/>
                <a:gd name="T79" fmla="*/ 544 h 1809"/>
                <a:gd name="T80" fmla="*/ 0 w 2442"/>
                <a:gd name="T81" fmla="*/ 614 h 1809"/>
                <a:gd name="T82" fmla="*/ 88 w 2442"/>
                <a:gd name="T83" fmla="*/ 755 h 1809"/>
                <a:gd name="T84" fmla="*/ 193 w 2442"/>
                <a:gd name="T85" fmla="*/ 878 h 1809"/>
                <a:gd name="T86" fmla="*/ 193 w 2442"/>
                <a:gd name="T87" fmla="*/ 1001 h 1809"/>
                <a:gd name="T88" fmla="*/ 211 w 2442"/>
                <a:gd name="T89" fmla="*/ 1264 h 1809"/>
                <a:gd name="T90" fmla="*/ 211 w 2442"/>
                <a:gd name="T91" fmla="*/ 1334 h 1809"/>
                <a:gd name="T92" fmla="*/ 298 w 2442"/>
                <a:gd name="T93" fmla="*/ 1387 h 1809"/>
                <a:gd name="T94" fmla="*/ 334 w 2442"/>
                <a:gd name="T95" fmla="*/ 1545 h 1809"/>
                <a:gd name="T96" fmla="*/ 386 w 2442"/>
                <a:gd name="T97" fmla="*/ 1563 h 1809"/>
                <a:gd name="T98" fmla="*/ 474 w 2442"/>
                <a:gd name="T99" fmla="*/ 1510 h 1809"/>
                <a:gd name="T100" fmla="*/ 615 w 2442"/>
                <a:gd name="T101" fmla="*/ 1492 h 1809"/>
                <a:gd name="T102" fmla="*/ 650 w 2442"/>
                <a:gd name="T103" fmla="*/ 1457 h 1809"/>
                <a:gd name="T104" fmla="*/ 738 w 2442"/>
                <a:gd name="T105" fmla="*/ 1405 h 1809"/>
                <a:gd name="T106" fmla="*/ 808 w 2442"/>
                <a:gd name="T107" fmla="*/ 1405 h 1809"/>
                <a:gd name="T108" fmla="*/ 948 w 2442"/>
                <a:gd name="T109" fmla="*/ 1475 h 1809"/>
                <a:gd name="T110" fmla="*/ 1019 w 2442"/>
                <a:gd name="T111" fmla="*/ 1633 h 1809"/>
                <a:gd name="T112" fmla="*/ 1159 w 2442"/>
                <a:gd name="T113" fmla="*/ 1774 h 1809"/>
                <a:gd name="T114" fmla="*/ 1282 w 2442"/>
                <a:gd name="T115" fmla="*/ 1809 h 180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442"/>
                <a:gd name="T175" fmla="*/ 0 h 1809"/>
                <a:gd name="T176" fmla="*/ 2442 w 2442"/>
                <a:gd name="T177" fmla="*/ 1809 h 180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442" h="1809">
                  <a:moveTo>
                    <a:pt x="1282" y="1809"/>
                  </a:moveTo>
                  <a:lnTo>
                    <a:pt x="1317" y="1809"/>
                  </a:lnTo>
                  <a:lnTo>
                    <a:pt x="1335" y="1738"/>
                  </a:lnTo>
                  <a:lnTo>
                    <a:pt x="1352" y="1703"/>
                  </a:lnTo>
                  <a:lnTo>
                    <a:pt x="1388" y="1668"/>
                  </a:lnTo>
                  <a:lnTo>
                    <a:pt x="1405" y="1651"/>
                  </a:lnTo>
                  <a:lnTo>
                    <a:pt x="1440" y="1651"/>
                  </a:lnTo>
                  <a:lnTo>
                    <a:pt x="1458" y="1615"/>
                  </a:lnTo>
                  <a:lnTo>
                    <a:pt x="1493" y="1563"/>
                  </a:lnTo>
                  <a:lnTo>
                    <a:pt x="1511" y="1492"/>
                  </a:lnTo>
                  <a:lnTo>
                    <a:pt x="1546" y="1440"/>
                  </a:lnTo>
                  <a:lnTo>
                    <a:pt x="1563" y="1422"/>
                  </a:lnTo>
                  <a:lnTo>
                    <a:pt x="1598" y="1422"/>
                  </a:lnTo>
                  <a:lnTo>
                    <a:pt x="1651" y="1422"/>
                  </a:lnTo>
                  <a:lnTo>
                    <a:pt x="1686" y="1440"/>
                  </a:lnTo>
                  <a:lnTo>
                    <a:pt x="1774" y="1440"/>
                  </a:lnTo>
                  <a:lnTo>
                    <a:pt x="1827" y="1475"/>
                  </a:lnTo>
                  <a:lnTo>
                    <a:pt x="1897" y="1475"/>
                  </a:lnTo>
                  <a:lnTo>
                    <a:pt x="1950" y="1492"/>
                  </a:lnTo>
                  <a:lnTo>
                    <a:pt x="1985" y="1510"/>
                  </a:lnTo>
                  <a:lnTo>
                    <a:pt x="2002" y="1528"/>
                  </a:lnTo>
                  <a:lnTo>
                    <a:pt x="2055" y="1528"/>
                  </a:lnTo>
                  <a:lnTo>
                    <a:pt x="2090" y="1528"/>
                  </a:lnTo>
                  <a:lnTo>
                    <a:pt x="2108" y="1492"/>
                  </a:lnTo>
                  <a:lnTo>
                    <a:pt x="2143" y="1475"/>
                  </a:lnTo>
                  <a:lnTo>
                    <a:pt x="2178" y="1457"/>
                  </a:lnTo>
                  <a:lnTo>
                    <a:pt x="2213" y="1475"/>
                  </a:lnTo>
                  <a:lnTo>
                    <a:pt x="2231" y="1475"/>
                  </a:lnTo>
                  <a:lnTo>
                    <a:pt x="2248" y="1492"/>
                  </a:lnTo>
                  <a:lnTo>
                    <a:pt x="2266" y="1510"/>
                  </a:lnTo>
                  <a:lnTo>
                    <a:pt x="2284" y="1475"/>
                  </a:lnTo>
                  <a:lnTo>
                    <a:pt x="2301" y="1457"/>
                  </a:lnTo>
                  <a:lnTo>
                    <a:pt x="2354" y="1440"/>
                  </a:lnTo>
                  <a:lnTo>
                    <a:pt x="2407" y="1405"/>
                  </a:lnTo>
                  <a:lnTo>
                    <a:pt x="2424" y="1387"/>
                  </a:lnTo>
                  <a:lnTo>
                    <a:pt x="2442" y="1352"/>
                  </a:lnTo>
                  <a:lnTo>
                    <a:pt x="2371" y="1334"/>
                  </a:lnTo>
                  <a:lnTo>
                    <a:pt x="2336" y="1299"/>
                  </a:lnTo>
                  <a:lnTo>
                    <a:pt x="2319" y="1247"/>
                  </a:lnTo>
                  <a:lnTo>
                    <a:pt x="2301" y="1194"/>
                  </a:lnTo>
                  <a:lnTo>
                    <a:pt x="2284" y="1176"/>
                  </a:lnTo>
                  <a:lnTo>
                    <a:pt x="2248" y="1141"/>
                  </a:lnTo>
                  <a:lnTo>
                    <a:pt x="2213" y="1141"/>
                  </a:lnTo>
                  <a:lnTo>
                    <a:pt x="2178" y="1124"/>
                  </a:lnTo>
                  <a:lnTo>
                    <a:pt x="2161" y="1106"/>
                  </a:lnTo>
                  <a:lnTo>
                    <a:pt x="2125" y="1071"/>
                  </a:lnTo>
                  <a:lnTo>
                    <a:pt x="2108" y="1071"/>
                  </a:lnTo>
                  <a:lnTo>
                    <a:pt x="2090" y="1071"/>
                  </a:lnTo>
                  <a:lnTo>
                    <a:pt x="2073" y="1071"/>
                  </a:lnTo>
                  <a:lnTo>
                    <a:pt x="2055" y="1071"/>
                  </a:lnTo>
                  <a:lnTo>
                    <a:pt x="2020" y="1018"/>
                  </a:lnTo>
                  <a:lnTo>
                    <a:pt x="2002" y="1001"/>
                  </a:lnTo>
                  <a:lnTo>
                    <a:pt x="1985" y="983"/>
                  </a:lnTo>
                  <a:lnTo>
                    <a:pt x="1950" y="1001"/>
                  </a:lnTo>
                  <a:lnTo>
                    <a:pt x="1915" y="1036"/>
                  </a:lnTo>
                  <a:lnTo>
                    <a:pt x="1897" y="1053"/>
                  </a:lnTo>
                  <a:lnTo>
                    <a:pt x="1862" y="1071"/>
                  </a:lnTo>
                  <a:lnTo>
                    <a:pt x="1757" y="1071"/>
                  </a:lnTo>
                  <a:lnTo>
                    <a:pt x="1686" y="1053"/>
                  </a:lnTo>
                  <a:lnTo>
                    <a:pt x="1651" y="1001"/>
                  </a:lnTo>
                  <a:lnTo>
                    <a:pt x="1616" y="966"/>
                  </a:lnTo>
                  <a:lnTo>
                    <a:pt x="1563" y="913"/>
                  </a:lnTo>
                  <a:lnTo>
                    <a:pt x="1458" y="895"/>
                  </a:lnTo>
                  <a:lnTo>
                    <a:pt x="1405" y="878"/>
                  </a:lnTo>
                  <a:lnTo>
                    <a:pt x="1352" y="860"/>
                  </a:lnTo>
                  <a:lnTo>
                    <a:pt x="1317" y="825"/>
                  </a:lnTo>
                  <a:lnTo>
                    <a:pt x="1282" y="790"/>
                  </a:lnTo>
                  <a:lnTo>
                    <a:pt x="1177" y="790"/>
                  </a:lnTo>
                  <a:lnTo>
                    <a:pt x="1159" y="755"/>
                  </a:lnTo>
                  <a:lnTo>
                    <a:pt x="1159" y="737"/>
                  </a:lnTo>
                  <a:lnTo>
                    <a:pt x="1142" y="702"/>
                  </a:lnTo>
                  <a:lnTo>
                    <a:pt x="1142" y="667"/>
                  </a:lnTo>
                  <a:lnTo>
                    <a:pt x="1107" y="597"/>
                  </a:lnTo>
                  <a:lnTo>
                    <a:pt x="1107" y="562"/>
                  </a:lnTo>
                  <a:lnTo>
                    <a:pt x="1089" y="544"/>
                  </a:lnTo>
                  <a:lnTo>
                    <a:pt x="1054" y="509"/>
                  </a:lnTo>
                  <a:lnTo>
                    <a:pt x="1001" y="491"/>
                  </a:lnTo>
                  <a:lnTo>
                    <a:pt x="984" y="491"/>
                  </a:lnTo>
                  <a:lnTo>
                    <a:pt x="948" y="509"/>
                  </a:lnTo>
                  <a:lnTo>
                    <a:pt x="931" y="509"/>
                  </a:lnTo>
                  <a:lnTo>
                    <a:pt x="931" y="491"/>
                  </a:lnTo>
                  <a:lnTo>
                    <a:pt x="896" y="509"/>
                  </a:lnTo>
                  <a:lnTo>
                    <a:pt x="861" y="526"/>
                  </a:lnTo>
                  <a:lnTo>
                    <a:pt x="825" y="509"/>
                  </a:lnTo>
                  <a:lnTo>
                    <a:pt x="808" y="491"/>
                  </a:lnTo>
                  <a:lnTo>
                    <a:pt x="790" y="439"/>
                  </a:lnTo>
                  <a:lnTo>
                    <a:pt x="773" y="368"/>
                  </a:lnTo>
                  <a:lnTo>
                    <a:pt x="755" y="351"/>
                  </a:lnTo>
                  <a:lnTo>
                    <a:pt x="738" y="351"/>
                  </a:lnTo>
                  <a:lnTo>
                    <a:pt x="615" y="351"/>
                  </a:lnTo>
                  <a:lnTo>
                    <a:pt x="544" y="333"/>
                  </a:lnTo>
                  <a:lnTo>
                    <a:pt x="527" y="316"/>
                  </a:lnTo>
                  <a:lnTo>
                    <a:pt x="527" y="298"/>
                  </a:lnTo>
                  <a:lnTo>
                    <a:pt x="492" y="281"/>
                  </a:lnTo>
                  <a:lnTo>
                    <a:pt x="474" y="228"/>
                  </a:lnTo>
                  <a:lnTo>
                    <a:pt x="492" y="210"/>
                  </a:lnTo>
                  <a:lnTo>
                    <a:pt x="509" y="175"/>
                  </a:lnTo>
                  <a:lnTo>
                    <a:pt x="527" y="140"/>
                  </a:lnTo>
                  <a:lnTo>
                    <a:pt x="527" y="105"/>
                  </a:lnTo>
                  <a:lnTo>
                    <a:pt x="527" y="35"/>
                  </a:lnTo>
                  <a:lnTo>
                    <a:pt x="509" y="0"/>
                  </a:lnTo>
                  <a:lnTo>
                    <a:pt x="474" y="35"/>
                  </a:lnTo>
                  <a:lnTo>
                    <a:pt x="421" y="52"/>
                  </a:lnTo>
                  <a:lnTo>
                    <a:pt x="386" y="87"/>
                  </a:lnTo>
                  <a:lnTo>
                    <a:pt x="334" y="105"/>
                  </a:lnTo>
                  <a:lnTo>
                    <a:pt x="334" y="70"/>
                  </a:lnTo>
                  <a:lnTo>
                    <a:pt x="298" y="70"/>
                  </a:lnTo>
                  <a:lnTo>
                    <a:pt x="263" y="87"/>
                  </a:lnTo>
                  <a:lnTo>
                    <a:pt x="228" y="122"/>
                  </a:lnTo>
                  <a:lnTo>
                    <a:pt x="193" y="228"/>
                  </a:lnTo>
                  <a:lnTo>
                    <a:pt x="158" y="281"/>
                  </a:lnTo>
                  <a:lnTo>
                    <a:pt x="123" y="333"/>
                  </a:lnTo>
                  <a:lnTo>
                    <a:pt x="88" y="368"/>
                  </a:lnTo>
                  <a:lnTo>
                    <a:pt x="70" y="421"/>
                  </a:lnTo>
                  <a:lnTo>
                    <a:pt x="35" y="544"/>
                  </a:lnTo>
                  <a:lnTo>
                    <a:pt x="17" y="579"/>
                  </a:lnTo>
                  <a:lnTo>
                    <a:pt x="0" y="614"/>
                  </a:lnTo>
                  <a:lnTo>
                    <a:pt x="17" y="649"/>
                  </a:lnTo>
                  <a:lnTo>
                    <a:pt x="52" y="702"/>
                  </a:lnTo>
                  <a:lnTo>
                    <a:pt x="88" y="755"/>
                  </a:lnTo>
                  <a:lnTo>
                    <a:pt x="123" y="790"/>
                  </a:lnTo>
                  <a:lnTo>
                    <a:pt x="158" y="843"/>
                  </a:lnTo>
                  <a:lnTo>
                    <a:pt x="193" y="878"/>
                  </a:lnTo>
                  <a:lnTo>
                    <a:pt x="211" y="930"/>
                  </a:lnTo>
                  <a:lnTo>
                    <a:pt x="193" y="1001"/>
                  </a:lnTo>
                  <a:lnTo>
                    <a:pt x="211" y="1159"/>
                  </a:lnTo>
                  <a:lnTo>
                    <a:pt x="211" y="1264"/>
                  </a:lnTo>
                  <a:lnTo>
                    <a:pt x="193" y="1282"/>
                  </a:lnTo>
                  <a:lnTo>
                    <a:pt x="193" y="1299"/>
                  </a:lnTo>
                  <a:lnTo>
                    <a:pt x="211" y="1334"/>
                  </a:lnTo>
                  <a:lnTo>
                    <a:pt x="246" y="1352"/>
                  </a:lnTo>
                  <a:lnTo>
                    <a:pt x="281" y="1370"/>
                  </a:lnTo>
                  <a:lnTo>
                    <a:pt x="298" y="1387"/>
                  </a:lnTo>
                  <a:lnTo>
                    <a:pt x="334" y="1545"/>
                  </a:lnTo>
                  <a:lnTo>
                    <a:pt x="351" y="1563"/>
                  </a:lnTo>
                  <a:lnTo>
                    <a:pt x="386" y="1563"/>
                  </a:lnTo>
                  <a:lnTo>
                    <a:pt x="421" y="1563"/>
                  </a:lnTo>
                  <a:lnTo>
                    <a:pt x="439" y="1545"/>
                  </a:lnTo>
                  <a:lnTo>
                    <a:pt x="474" y="1510"/>
                  </a:lnTo>
                  <a:lnTo>
                    <a:pt x="509" y="1492"/>
                  </a:lnTo>
                  <a:lnTo>
                    <a:pt x="544" y="1492"/>
                  </a:lnTo>
                  <a:lnTo>
                    <a:pt x="597" y="1492"/>
                  </a:lnTo>
                  <a:lnTo>
                    <a:pt x="615" y="1492"/>
                  </a:lnTo>
                  <a:lnTo>
                    <a:pt x="632" y="1475"/>
                  </a:lnTo>
                  <a:lnTo>
                    <a:pt x="650" y="1457"/>
                  </a:lnTo>
                  <a:lnTo>
                    <a:pt x="685" y="1440"/>
                  </a:lnTo>
                  <a:lnTo>
                    <a:pt x="720" y="1440"/>
                  </a:lnTo>
                  <a:lnTo>
                    <a:pt x="738" y="1405"/>
                  </a:lnTo>
                  <a:lnTo>
                    <a:pt x="738" y="1387"/>
                  </a:lnTo>
                  <a:lnTo>
                    <a:pt x="755" y="1387"/>
                  </a:lnTo>
                  <a:lnTo>
                    <a:pt x="808" y="1405"/>
                  </a:lnTo>
                  <a:lnTo>
                    <a:pt x="861" y="1440"/>
                  </a:lnTo>
                  <a:lnTo>
                    <a:pt x="896" y="1457"/>
                  </a:lnTo>
                  <a:lnTo>
                    <a:pt x="948" y="1475"/>
                  </a:lnTo>
                  <a:lnTo>
                    <a:pt x="1001" y="1545"/>
                  </a:lnTo>
                  <a:lnTo>
                    <a:pt x="1019" y="1633"/>
                  </a:lnTo>
                  <a:lnTo>
                    <a:pt x="1071" y="1703"/>
                  </a:lnTo>
                  <a:lnTo>
                    <a:pt x="1107" y="1738"/>
                  </a:lnTo>
                  <a:lnTo>
                    <a:pt x="1159" y="1774"/>
                  </a:lnTo>
                  <a:lnTo>
                    <a:pt x="1282" y="1809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11" name="Freeform 91"/>
            <p:cNvSpPr>
              <a:spLocks/>
            </p:cNvSpPr>
            <p:nvPr/>
          </p:nvSpPr>
          <p:spPr bwMode="auto">
            <a:xfrm>
              <a:off x="2904239" y="4052496"/>
              <a:ext cx="180654" cy="319517"/>
            </a:xfrm>
            <a:custGeom>
              <a:avLst/>
              <a:gdLst>
                <a:gd name="T0" fmla="*/ 17 w 298"/>
                <a:gd name="T1" fmla="*/ 106 h 527"/>
                <a:gd name="T2" fmla="*/ 17 w 298"/>
                <a:gd name="T3" fmla="*/ 106 h 527"/>
                <a:gd name="T4" fmla="*/ 35 w 298"/>
                <a:gd name="T5" fmla="*/ 141 h 527"/>
                <a:gd name="T6" fmla="*/ 52 w 298"/>
                <a:gd name="T7" fmla="*/ 158 h 527"/>
                <a:gd name="T8" fmla="*/ 87 w 298"/>
                <a:gd name="T9" fmla="*/ 194 h 527"/>
                <a:gd name="T10" fmla="*/ 105 w 298"/>
                <a:gd name="T11" fmla="*/ 229 h 527"/>
                <a:gd name="T12" fmla="*/ 105 w 298"/>
                <a:gd name="T13" fmla="*/ 229 h 527"/>
                <a:gd name="T14" fmla="*/ 87 w 298"/>
                <a:gd name="T15" fmla="*/ 264 h 527"/>
                <a:gd name="T16" fmla="*/ 52 w 298"/>
                <a:gd name="T17" fmla="*/ 299 h 527"/>
                <a:gd name="T18" fmla="*/ 17 w 298"/>
                <a:gd name="T19" fmla="*/ 316 h 527"/>
                <a:gd name="T20" fmla="*/ 0 w 298"/>
                <a:gd name="T21" fmla="*/ 369 h 527"/>
                <a:gd name="T22" fmla="*/ 0 w 298"/>
                <a:gd name="T23" fmla="*/ 369 h 527"/>
                <a:gd name="T24" fmla="*/ 0 w 298"/>
                <a:gd name="T25" fmla="*/ 457 h 527"/>
                <a:gd name="T26" fmla="*/ 0 w 298"/>
                <a:gd name="T27" fmla="*/ 457 h 527"/>
                <a:gd name="T28" fmla="*/ 0 w 298"/>
                <a:gd name="T29" fmla="*/ 492 h 527"/>
                <a:gd name="T30" fmla="*/ 17 w 298"/>
                <a:gd name="T31" fmla="*/ 510 h 527"/>
                <a:gd name="T32" fmla="*/ 70 w 298"/>
                <a:gd name="T33" fmla="*/ 527 h 527"/>
                <a:gd name="T34" fmla="*/ 193 w 298"/>
                <a:gd name="T35" fmla="*/ 527 h 527"/>
                <a:gd name="T36" fmla="*/ 193 w 298"/>
                <a:gd name="T37" fmla="*/ 527 h 527"/>
                <a:gd name="T38" fmla="*/ 246 w 298"/>
                <a:gd name="T39" fmla="*/ 527 h 527"/>
                <a:gd name="T40" fmla="*/ 263 w 298"/>
                <a:gd name="T41" fmla="*/ 527 h 527"/>
                <a:gd name="T42" fmla="*/ 263 w 298"/>
                <a:gd name="T43" fmla="*/ 510 h 527"/>
                <a:gd name="T44" fmla="*/ 263 w 298"/>
                <a:gd name="T45" fmla="*/ 510 h 527"/>
                <a:gd name="T46" fmla="*/ 263 w 298"/>
                <a:gd name="T47" fmla="*/ 492 h 527"/>
                <a:gd name="T48" fmla="*/ 246 w 298"/>
                <a:gd name="T49" fmla="*/ 475 h 527"/>
                <a:gd name="T50" fmla="*/ 228 w 298"/>
                <a:gd name="T51" fmla="*/ 457 h 527"/>
                <a:gd name="T52" fmla="*/ 210 w 298"/>
                <a:gd name="T53" fmla="*/ 422 h 527"/>
                <a:gd name="T54" fmla="*/ 210 w 298"/>
                <a:gd name="T55" fmla="*/ 422 h 527"/>
                <a:gd name="T56" fmla="*/ 228 w 298"/>
                <a:gd name="T57" fmla="*/ 387 h 527"/>
                <a:gd name="T58" fmla="*/ 246 w 298"/>
                <a:gd name="T59" fmla="*/ 334 h 527"/>
                <a:gd name="T60" fmla="*/ 263 w 298"/>
                <a:gd name="T61" fmla="*/ 299 h 527"/>
                <a:gd name="T62" fmla="*/ 281 w 298"/>
                <a:gd name="T63" fmla="*/ 246 h 527"/>
                <a:gd name="T64" fmla="*/ 281 w 298"/>
                <a:gd name="T65" fmla="*/ 246 h 527"/>
                <a:gd name="T66" fmla="*/ 298 w 298"/>
                <a:gd name="T67" fmla="*/ 141 h 527"/>
                <a:gd name="T68" fmla="*/ 298 w 298"/>
                <a:gd name="T69" fmla="*/ 141 h 527"/>
                <a:gd name="T70" fmla="*/ 263 w 298"/>
                <a:gd name="T71" fmla="*/ 123 h 527"/>
                <a:gd name="T72" fmla="*/ 246 w 298"/>
                <a:gd name="T73" fmla="*/ 106 h 527"/>
                <a:gd name="T74" fmla="*/ 228 w 298"/>
                <a:gd name="T75" fmla="*/ 88 h 527"/>
                <a:gd name="T76" fmla="*/ 210 w 298"/>
                <a:gd name="T77" fmla="*/ 71 h 527"/>
                <a:gd name="T78" fmla="*/ 210 w 298"/>
                <a:gd name="T79" fmla="*/ 71 h 527"/>
                <a:gd name="T80" fmla="*/ 193 w 298"/>
                <a:gd name="T81" fmla="*/ 71 h 527"/>
                <a:gd name="T82" fmla="*/ 193 w 298"/>
                <a:gd name="T83" fmla="*/ 71 h 527"/>
                <a:gd name="T84" fmla="*/ 175 w 298"/>
                <a:gd name="T85" fmla="*/ 71 h 527"/>
                <a:gd name="T86" fmla="*/ 175 w 298"/>
                <a:gd name="T87" fmla="*/ 35 h 527"/>
                <a:gd name="T88" fmla="*/ 175 w 298"/>
                <a:gd name="T89" fmla="*/ 35 h 527"/>
                <a:gd name="T90" fmla="*/ 175 w 298"/>
                <a:gd name="T91" fmla="*/ 18 h 527"/>
                <a:gd name="T92" fmla="*/ 140 w 298"/>
                <a:gd name="T93" fmla="*/ 0 h 527"/>
                <a:gd name="T94" fmla="*/ 87 w 298"/>
                <a:gd name="T95" fmla="*/ 0 h 527"/>
                <a:gd name="T96" fmla="*/ 87 w 298"/>
                <a:gd name="T97" fmla="*/ 0 h 527"/>
                <a:gd name="T98" fmla="*/ 52 w 298"/>
                <a:gd name="T99" fmla="*/ 0 h 527"/>
                <a:gd name="T100" fmla="*/ 52 w 298"/>
                <a:gd name="T101" fmla="*/ 0 h 527"/>
                <a:gd name="T102" fmla="*/ 35 w 298"/>
                <a:gd name="T103" fmla="*/ 0 h 527"/>
                <a:gd name="T104" fmla="*/ 17 w 298"/>
                <a:gd name="T105" fmla="*/ 0 h 527"/>
                <a:gd name="T106" fmla="*/ 17 w 298"/>
                <a:gd name="T107" fmla="*/ 0 h 527"/>
                <a:gd name="T108" fmla="*/ 35 w 298"/>
                <a:gd name="T109" fmla="*/ 71 h 527"/>
                <a:gd name="T110" fmla="*/ 35 w 298"/>
                <a:gd name="T111" fmla="*/ 71 h 527"/>
                <a:gd name="T112" fmla="*/ 17 w 298"/>
                <a:gd name="T113" fmla="*/ 106 h 527"/>
                <a:gd name="T114" fmla="*/ 0 w 298"/>
                <a:gd name="T115" fmla="*/ 106 h 527"/>
                <a:gd name="T116" fmla="*/ 0 w 298"/>
                <a:gd name="T117" fmla="*/ 106 h 527"/>
                <a:gd name="T118" fmla="*/ 17 w 298"/>
                <a:gd name="T119" fmla="*/ 106 h 527"/>
                <a:gd name="T120" fmla="*/ 17 w 298"/>
                <a:gd name="T121" fmla="*/ 106 h 5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98"/>
                <a:gd name="T184" fmla="*/ 0 h 527"/>
                <a:gd name="T185" fmla="*/ 298 w 298"/>
                <a:gd name="T186" fmla="*/ 527 h 5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98" h="527">
                  <a:moveTo>
                    <a:pt x="17" y="106"/>
                  </a:moveTo>
                  <a:lnTo>
                    <a:pt x="17" y="106"/>
                  </a:lnTo>
                  <a:lnTo>
                    <a:pt x="35" y="141"/>
                  </a:lnTo>
                  <a:lnTo>
                    <a:pt x="52" y="158"/>
                  </a:lnTo>
                  <a:lnTo>
                    <a:pt x="87" y="194"/>
                  </a:lnTo>
                  <a:lnTo>
                    <a:pt x="105" y="229"/>
                  </a:lnTo>
                  <a:lnTo>
                    <a:pt x="87" y="264"/>
                  </a:lnTo>
                  <a:lnTo>
                    <a:pt x="52" y="299"/>
                  </a:lnTo>
                  <a:lnTo>
                    <a:pt x="17" y="316"/>
                  </a:lnTo>
                  <a:lnTo>
                    <a:pt x="0" y="369"/>
                  </a:lnTo>
                  <a:lnTo>
                    <a:pt x="0" y="457"/>
                  </a:lnTo>
                  <a:lnTo>
                    <a:pt x="0" y="492"/>
                  </a:lnTo>
                  <a:lnTo>
                    <a:pt x="17" y="510"/>
                  </a:lnTo>
                  <a:lnTo>
                    <a:pt x="70" y="527"/>
                  </a:lnTo>
                  <a:lnTo>
                    <a:pt x="193" y="527"/>
                  </a:lnTo>
                  <a:lnTo>
                    <a:pt x="246" y="527"/>
                  </a:lnTo>
                  <a:lnTo>
                    <a:pt x="263" y="527"/>
                  </a:lnTo>
                  <a:lnTo>
                    <a:pt x="263" y="510"/>
                  </a:lnTo>
                  <a:lnTo>
                    <a:pt x="263" y="492"/>
                  </a:lnTo>
                  <a:lnTo>
                    <a:pt x="246" y="475"/>
                  </a:lnTo>
                  <a:lnTo>
                    <a:pt x="228" y="457"/>
                  </a:lnTo>
                  <a:lnTo>
                    <a:pt x="210" y="422"/>
                  </a:lnTo>
                  <a:lnTo>
                    <a:pt x="228" y="387"/>
                  </a:lnTo>
                  <a:lnTo>
                    <a:pt x="246" y="334"/>
                  </a:lnTo>
                  <a:lnTo>
                    <a:pt x="263" y="299"/>
                  </a:lnTo>
                  <a:lnTo>
                    <a:pt x="281" y="246"/>
                  </a:lnTo>
                  <a:lnTo>
                    <a:pt x="298" y="141"/>
                  </a:lnTo>
                  <a:lnTo>
                    <a:pt x="263" y="123"/>
                  </a:lnTo>
                  <a:lnTo>
                    <a:pt x="246" y="106"/>
                  </a:lnTo>
                  <a:lnTo>
                    <a:pt x="228" y="88"/>
                  </a:lnTo>
                  <a:lnTo>
                    <a:pt x="210" y="71"/>
                  </a:lnTo>
                  <a:lnTo>
                    <a:pt x="193" y="71"/>
                  </a:lnTo>
                  <a:lnTo>
                    <a:pt x="175" y="71"/>
                  </a:lnTo>
                  <a:lnTo>
                    <a:pt x="175" y="35"/>
                  </a:lnTo>
                  <a:lnTo>
                    <a:pt x="175" y="18"/>
                  </a:lnTo>
                  <a:lnTo>
                    <a:pt x="140" y="0"/>
                  </a:lnTo>
                  <a:lnTo>
                    <a:pt x="87" y="0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17" y="0"/>
                  </a:lnTo>
                  <a:lnTo>
                    <a:pt x="35" y="71"/>
                  </a:lnTo>
                  <a:lnTo>
                    <a:pt x="17" y="106"/>
                  </a:lnTo>
                  <a:lnTo>
                    <a:pt x="0" y="106"/>
                  </a:lnTo>
                  <a:lnTo>
                    <a:pt x="17" y="106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12" name="Freeform 92"/>
            <p:cNvSpPr>
              <a:spLocks/>
            </p:cNvSpPr>
            <p:nvPr/>
          </p:nvSpPr>
          <p:spPr bwMode="auto">
            <a:xfrm>
              <a:off x="3681414" y="2966623"/>
              <a:ext cx="1214260" cy="1512098"/>
            </a:xfrm>
            <a:custGeom>
              <a:avLst/>
              <a:gdLst>
                <a:gd name="T0" fmla="*/ 1880 w 2003"/>
                <a:gd name="T1" fmla="*/ 2459 h 2494"/>
                <a:gd name="T2" fmla="*/ 1950 w 2003"/>
                <a:gd name="T3" fmla="*/ 2336 h 2494"/>
                <a:gd name="T4" fmla="*/ 1985 w 2003"/>
                <a:gd name="T5" fmla="*/ 2125 h 2494"/>
                <a:gd name="T6" fmla="*/ 1862 w 2003"/>
                <a:gd name="T7" fmla="*/ 1914 h 2494"/>
                <a:gd name="T8" fmla="*/ 1827 w 2003"/>
                <a:gd name="T9" fmla="*/ 1739 h 2494"/>
                <a:gd name="T10" fmla="*/ 1774 w 2003"/>
                <a:gd name="T11" fmla="*/ 1493 h 2494"/>
                <a:gd name="T12" fmla="*/ 1757 w 2003"/>
                <a:gd name="T13" fmla="*/ 1264 h 2494"/>
                <a:gd name="T14" fmla="*/ 1792 w 2003"/>
                <a:gd name="T15" fmla="*/ 1194 h 2494"/>
                <a:gd name="T16" fmla="*/ 1810 w 2003"/>
                <a:gd name="T17" fmla="*/ 1054 h 2494"/>
                <a:gd name="T18" fmla="*/ 1616 w 2003"/>
                <a:gd name="T19" fmla="*/ 948 h 2494"/>
                <a:gd name="T20" fmla="*/ 1687 w 2003"/>
                <a:gd name="T21" fmla="*/ 737 h 2494"/>
                <a:gd name="T22" fmla="*/ 1634 w 2003"/>
                <a:gd name="T23" fmla="*/ 509 h 2494"/>
                <a:gd name="T24" fmla="*/ 1687 w 2003"/>
                <a:gd name="T25" fmla="*/ 369 h 2494"/>
                <a:gd name="T26" fmla="*/ 1616 w 2003"/>
                <a:gd name="T27" fmla="*/ 281 h 2494"/>
                <a:gd name="T28" fmla="*/ 1528 w 2003"/>
                <a:gd name="T29" fmla="*/ 369 h 2494"/>
                <a:gd name="T30" fmla="*/ 1528 w 2003"/>
                <a:gd name="T31" fmla="*/ 492 h 2494"/>
                <a:gd name="T32" fmla="*/ 1528 w 2003"/>
                <a:gd name="T33" fmla="*/ 579 h 2494"/>
                <a:gd name="T34" fmla="*/ 1370 w 2003"/>
                <a:gd name="T35" fmla="*/ 386 h 2494"/>
                <a:gd name="T36" fmla="*/ 1406 w 2003"/>
                <a:gd name="T37" fmla="*/ 105 h 2494"/>
                <a:gd name="T38" fmla="*/ 1265 w 2003"/>
                <a:gd name="T39" fmla="*/ 316 h 2494"/>
                <a:gd name="T40" fmla="*/ 1230 w 2003"/>
                <a:gd name="T41" fmla="*/ 615 h 2494"/>
                <a:gd name="T42" fmla="*/ 1160 w 2003"/>
                <a:gd name="T43" fmla="*/ 896 h 2494"/>
                <a:gd name="T44" fmla="*/ 1406 w 2003"/>
                <a:gd name="T45" fmla="*/ 1036 h 2494"/>
                <a:gd name="T46" fmla="*/ 1353 w 2003"/>
                <a:gd name="T47" fmla="*/ 1212 h 2494"/>
                <a:gd name="T48" fmla="*/ 1370 w 2003"/>
                <a:gd name="T49" fmla="*/ 1300 h 2494"/>
                <a:gd name="T50" fmla="*/ 1353 w 2003"/>
                <a:gd name="T51" fmla="*/ 1054 h 2494"/>
                <a:gd name="T52" fmla="*/ 1142 w 2003"/>
                <a:gd name="T53" fmla="*/ 1106 h 2494"/>
                <a:gd name="T54" fmla="*/ 1001 w 2003"/>
                <a:gd name="T55" fmla="*/ 1387 h 2494"/>
                <a:gd name="T56" fmla="*/ 755 w 2003"/>
                <a:gd name="T57" fmla="*/ 1422 h 2494"/>
                <a:gd name="T58" fmla="*/ 650 w 2003"/>
                <a:gd name="T59" fmla="*/ 1300 h 2494"/>
                <a:gd name="T60" fmla="*/ 791 w 2003"/>
                <a:gd name="T61" fmla="*/ 1405 h 2494"/>
                <a:gd name="T62" fmla="*/ 1037 w 2003"/>
                <a:gd name="T63" fmla="*/ 1159 h 2494"/>
                <a:gd name="T64" fmla="*/ 1072 w 2003"/>
                <a:gd name="T65" fmla="*/ 948 h 2494"/>
                <a:gd name="T66" fmla="*/ 1177 w 2003"/>
                <a:gd name="T67" fmla="*/ 492 h 2494"/>
                <a:gd name="T68" fmla="*/ 1230 w 2003"/>
                <a:gd name="T69" fmla="*/ 263 h 2494"/>
                <a:gd name="T70" fmla="*/ 1160 w 2003"/>
                <a:gd name="T71" fmla="*/ 52 h 2494"/>
                <a:gd name="T72" fmla="*/ 931 w 2003"/>
                <a:gd name="T73" fmla="*/ 246 h 2494"/>
                <a:gd name="T74" fmla="*/ 755 w 2003"/>
                <a:gd name="T75" fmla="*/ 421 h 2494"/>
                <a:gd name="T76" fmla="*/ 685 w 2003"/>
                <a:gd name="T77" fmla="*/ 615 h 2494"/>
                <a:gd name="T78" fmla="*/ 755 w 2003"/>
                <a:gd name="T79" fmla="*/ 790 h 2494"/>
                <a:gd name="T80" fmla="*/ 703 w 2003"/>
                <a:gd name="T81" fmla="*/ 931 h 2494"/>
                <a:gd name="T82" fmla="*/ 474 w 2003"/>
                <a:gd name="T83" fmla="*/ 737 h 2494"/>
                <a:gd name="T84" fmla="*/ 492 w 2003"/>
                <a:gd name="T85" fmla="*/ 896 h 2494"/>
                <a:gd name="T86" fmla="*/ 492 w 2003"/>
                <a:gd name="T87" fmla="*/ 1054 h 2494"/>
                <a:gd name="T88" fmla="*/ 35 w 2003"/>
                <a:gd name="T89" fmla="*/ 1300 h 2494"/>
                <a:gd name="T90" fmla="*/ 35 w 2003"/>
                <a:gd name="T91" fmla="*/ 1475 h 2494"/>
                <a:gd name="T92" fmla="*/ 53 w 2003"/>
                <a:gd name="T93" fmla="*/ 1616 h 2494"/>
                <a:gd name="T94" fmla="*/ 299 w 2003"/>
                <a:gd name="T95" fmla="*/ 1668 h 2494"/>
                <a:gd name="T96" fmla="*/ 457 w 2003"/>
                <a:gd name="T97" fmla="*/ 1791 h 2494"/>
                <a:gd name="T98" fmla="*/ 527 w 2003"/>
                <a:gd name="T99" fmla="*/ 1791 h 2494"/>
                <a:gd name="T100" fmla="*/ 668 w 2003"/>
                <a:gd name="T101" fmla="*/ 1967 h 2494"/>
                <a:gd name="T102" fmla="*/ 808 w 2003"/>
                <a:gd name="T103" fmla="*/ 2090 h 2494"/>
                <a:gd name="T104" fmla="*/ 984 w 2003"/>
                <a:gd name="T105" fmla="*/ 2195 h 2494"/>
                <a:gd name="T106" fmla="*/ 1283 w 2003"/>
                <a:gd name="T107" fmla="*/ 2371 h 2494"/>
                <a:gd name="T108" fmla="*/ 1511 w 2003"/>
                <a:gd name="T109" fmla="*/ 2283 h 2494"/>
                <a:gd name="T110" fmla="*/ 1634 w 2003"/>
                <a:gd name="T111" fmla="*/ 2371 h 2494"/>
                <a:gd name="T112" fmla="*/ 1774 w 2003"/>
                <a:gd name="T113" fmla="*/ 2441 h 249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003"/>
                <a:gd name="T172" fmla="*/ 0 h 2494"/>
                <a:gd name="T173" fmla="*/ 2003 w 2003"/>
                <a:gd name="T174" fmla="*/ 2494 h 249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003" h="2494">
                  <a:moveTo>
                    <a:pt x="1827" y="2494"/>
                  </a:moveTo>
                  <a:lnTo>
                    <a:pt x="1827" y="2494"/>
                  </a:lnTo>
                  <a:lnTo>
                    <a:pt x="1862" y="2494"/>
                  </a:lnTo>
                  <a:lnTo>
                    <a:pt x="1880" y="2459"/>
                  </a:lnTo>
                  <a:lnTo>
                    <a:pt x="1880" y="2424"/>
                  </a:lnTo>
                  <a:lnTo>
                    <a:pt x="1897" y="2406"/>
                  </a:lnTo>
                  <a:lnTo>
                    <a:pt x="1915" y="2371"/>
                  </a:lnTo>
                  <a:lnTo>
                    <a:pt x="1933" y="2353"/>
                  </a:lnTo>
                  <a:lnTo>
                    <a:pt x="1950" y="2336"/>
                  </a:lnTo>
                  <a:lnTo>
                    <a:pt x="1950" y="2301"/>
                  </a:lnTo>
                  <a:lnTo>
                    <a:pt x="1933" y="2283"/>
                  </a:lnTo>
                  <a:lnTo>
                    <a:pt x="1915" y="2230"/>
                  </a:lnTo>
                  <a:lnTo>
                    <a:pt x="1933" y="2178"/>
                  </a:lnTo>
                  <a:lnTo>
                    <a:pt x="1968" y="2160"/>
                  </a:lnTo>
                  <a:lnTo>
                    <a:pt x="1985" y="2125"/>
                  </a:lnTo>
                  <a:lnTo>
                    <a:pt x="2003" y="2072"/>
                  </a:lnTo>
                  <a:lnTo>
                    <a:pt x="2003" y="1967"/>
                  </a:lnTo>
                  <a:lnTo>
                    <a:pt x="1915" y="1967"/>
                  </a:lnTo>
                  <a:lnTo>
                    <a:pt x="1880" y="1932"/>
                  </a:lnTo>
                  <a:lnTo>
                    <a:pt x="1862" y="1914"/>
                  </a:lnTo>
                  <a:lnTo>
                    <a:pt x="1897" y="1879"/>
                  </a:lnTo>
                  <a:lnTo>
                    <a:pt x="1880" y="1774"/>
                  </a:lnTo>
                  <a:lnTo>
                    <a:pt x="1827" y="1739"/>
                  </a:lnTo>
                  <a:lnTo>
                    <a:pt x="1810" y="1704"/>
                  </a:lnTo>
                  <a:lnTo>
                    <a:pt x="1792" y="1668"/>
                  </a:lnTo>
                  <a:lnTo>
                    <a:pt x="1792" y="1528"/>
                  </a:lnTo>
                  <a:lnTo>
                    <a:pt x="1792" y="1510"/>
                  </a:lnTo>
                  <a:lnTo>
                    <a:pt x="1774" y="1493"/>
                  </a:lnTo>
                  <a:lnTo>
                    <a:pt x="1739" y="1458"/>
                  </a:lnTo>
                  <a:lnTo>
                    <a:pt x="1704" y="1300"/>
                  </a:lnTo>
                  <a:lnTo>
                    <a:pt x="1722" y="1282"/>
                  </a:lnTo>
                  <a:lnTo>
                    <a:pt x="1722" y="1264"/>
                  </a:lnTo>
                  <a:lnTo>
                    <a:pt x="1757" y="1264"/>
                  </a:lnTo>
                  <a:lnTo>
                    <a:pt x="1774" y="1229"/>
                  </a:lnTo>
                  <a:lnTo>
                    <a:pt x="1792" y="1194"/>
                  </a:lnTo>
                  <a:lnTo>
                    <a:pt x="1792" y="1159"/>
                  </a:lnTo>
                  <a:lnTo>
                    <a:pt x="1810" y="1124"/>
                  </a:lnTo>
                  <a:lnTo>
                    <a:pt x="1810" y="1089"/>
                  </a:lnTo>
                  <a:lnTo>
                    <a:pt x="1810" y="1054"/>
                  </a:lnTo>
                  <a:lnTo>
                    <a:pt x="1792" y="1036"/>
                  </a:lnTo>
                  <a:lnTo>
                    <a:pt x="1739" y="1001"/>
                  </a:lnTo>
                  <a:lnTo>
                    <a:pt x="1704" y="1001"/>
                  </a:lnTo>
                  <a:lnTo>
                    <a:pt x="1669" y="983"/>
                  </a:lnTo>
                  <a:lnTo>
                    <a:pt x="1616" y="948"/>
                  </a:lnTo>
                  <a:lnTo>
                    <a:pt x="1581" y="913"/>
                  </a:lnTo>
                  <a:lnTo>
                    <a:pt x="1564" y="860"/>
                  </a:lnTo>
                  <a:lnTo>
                    <a:pt x="1564" y="825"/>
                  </a:lnTo>
                  <a:lnTo>
                    <a:pt x="1581" y="790"/>
                  </a:lnTo>
                  <a:lnTo>
                    <a:pt x="1634" y="755"/>
                  </a:lnTo>
                  <a:lnTo>
                    <a:pt x="1687" y="737"/>
                  </a:lnTo>
                  <a:lnTo>
                    <a:pt x="1704" y="702"/>
                  </a:lnTo>
                  <a:lnTo>
                    <a:pt x="1704" y="667"/>
                  </a:lnTo>
                  <a:lnTo>
                    <a:pt x="1704" y="615"/>
                  </a:lnTo>
                  <a:lnTo>
                    <a:pt x="1669" y="579"/>
                  </a:lnTo>
                  <a:lnTo>
                    <a:pt x="1651" y="544"/>
                  </a:lnTo>
                  <a:lnTo>
                    <a:pt x="1634" y="509"/>
                  </a:lnTo>
                  <a:lnTo>
                    <a:pt x="1651" y="492"/>
                  </a:lnTo>
                  <a:lnTo>
                    <a:pt x="1669" y="474"/>
                  </a:lnTo>
                  <a:lnTo>
                    <a:pt x="1704" y="456"/>
                  </a:lnTo>
                  <a:lnTo>
                    <a:pt x="1704" y="404"/>
                  </a:lnTo>
                  <a:lnTo>
                    <a:pt x="1687" y="369"/>
                  </a:lnTo>
                  <a:lnTo>
                    <a:pt x="1651" y="351"/>
                  </a:lnTo>
                  <a:lnTo>
                    <a:pt x="1616" y="351"/>
                  </a:lnTo>
                  <a:lnTo>
                    <a:pt x="1616" y="316"/>
                  </a:lnTo>
                  <a:lnTo>
                    <a:pt x="1616" y="298"/>
                  </a:lnTo>
                  <a:lnTo>
                    <a:pt x="1616" y="281"/>
                  </a:lnTo>
                  <a:lnTo>
                    <a:pt x="1564" y="298"/>
                  </a:lnTo>
                  <a:lnTo>
                    <a:pt x="1546" y="316"/>
                  </a:lnTo>
                  <a:lnTo>
                    <a:pt x="1581" y="369"/>
                  </a:lnTo>
                  <a:lnTo>
                    <a:pt x="1581" y="386"/>
                  </a:lnTo>
                  <a:lnTo>
                    <a:pt x="1564" y="386"/>
                  </a:lnTo>
                  <a:lnTo>
                    <a:pt x="1528" y="369"/>
                  </a:lnTo>
                  <a:lnTo>
                    <a:pt x="1458" y="316"/>
                  </a:lnTo>
                  <a:lnTo>
                    <a:pt x="1441" y="351"/>
                  </a:lnTo>
                  <a:lnTo>
                    <a:pt x="1423" y="386"/>
                  </a:lnTo>
                  <a:lnTo>
                    <a:pt x="1423" y="404"/>
                  </a:lnTo>
                  <a:lnTo>
                    <a:pt x="1441" y="439"/>
                  </a:lnTo>
                  <a:lnTo>
                    <a:pt x="1528" y="492"/>
                  </a:lnTo>
                  <a:lnTo>
                    <a:pt x="1564" y="544"/>
                  </a:lnTo>
                  <a:lnTo>
                    <a:pt x="1564" y="579"/>
                  </a:lnTo>
                  <a:lnTo>
                    <a:pt x="1564" y="597"/>
                  </a:lnTo>
                  <a:lnTo>
                    <a:pt x="1546" y="615"/>
                  </a:lnTo>
                  <a:lnTo>
                    <a:pt x="1528" y="579"/>
                  </a:lnTo>
                  <a:lnTo>
                    <a:pt x="1493" y="527"/>
                  </a:lnTo>
                  <a:lnTo>
                    <a:pt x="1441" y="527"/>
                  </a:lnTo>
                  <a:lnTo>
                    <a:pt x="1406" y="492"/>
                  </a:lnTo>
                  <a:lnTo>
                    <a:pt x="1370" y="439"/>
                  </a:lnTo>
                  <a:lnTo>
                    <a:pt x="1370" y="386"/>
                  </a:lnTo>
                  <a:lnTo>
                    <a:pt x="1388" y="334"/>
                  </a:lnTo>
                  <a:lnTo>
                    <a:pt x="1423" y="263"/>
                  </a:lnTo>
                  <a:lnTo>
                    <a:pt x="1423" y="211"/>
                  </a:lnTo>
                  <a:lnTo>
                    <a:pt x="1423" y="105"/>
                  </a:lnTo>
                  <a:lnTo>
                    <a:pt x="1406" y="105"/>
                  </a:lnTo>
                  <a:lnTo>
                    <a:pt x="1388" y="123"/>
                  </a:lnTo>
                  <a:lnTo>
                    <a:pt x="1370" y="193"/>
                  </a:lnTo>
                  <a:lnTo>
                    <a:pt x="1370" y="263"/>
                  </a:lnTo>
                  <a:lnTo>
                    <a:pt x="1353" y="281"/>
                  </a:lnTo>
                  <a:lnTo>
                    <a:pt x="1335" y="298"/>
                  </a:lnTo>
                  <a:lnTo>
                    <a:pt x="1265" y="316"/>
                  </a:lnTo>
                  <a:lnTo>
                    <a:pt x="1230" y="351"/>
                  </a:lnTo>
                  <a:lnTo>
                    <a:pt x="1212" y="369"/>
                  </a:lnTo>
                  <a:lnTo>
                    <a:pt x="1212" y="404"/>
                  </a:lnTo>
                  <a:lnTo>
                    <a:pt x="1212" y="492"/>
                  </a:lnTo>
                  <a:lnTo>
                    <a:pt x="1230" y="562"/>
                  </a:lnTo>
                  <a:lnTo>
                    <a:pt x="1230" y="615"/>
                  </a:lnTo>
                  <a:lnTo>
                    <a:pt x="1230" y="650"/>
                  </a:lnTo>
                  <a:lnTo>
                    <a:pt x="1212" y="667"/>
                  </a:lnTo>
                  <a:lnTo>
                    <a:pt x="1177" y="755"/>
                  </a:lnTo>
                  <a:lnTo>
                    <a:pt x="1160" y="843"/>
                  </a:lnTo>
                  <a:lnTo>
                    <a:pt x="1160" y="896"/>
                  </a:lnTo>
                  <a:lnTo>
                    <a:pt x="1160" y="931"/>
                  </a:lnTo>
                  <a:lnTo>
                    <a:pt x="1212" y="948"/>
                  </a:lnTo>
                  <a:lnTo>
                    <a:pt x="1300" y="931"/>
                  </a:lnTo>
                  <a:lnTo>
                    <a:pt x="1353" y="948"/>
                  </a:lnTo>
                  <a:lnTo>
                    <a:pt x="1388" y="983"/>
                  </a:lnTo>
                  <a:lnTo>
                    <a:pt x="1406" y="1036"/>
                  </a:lnTo>
                  <a:lnTo>
                    <a:pt x="1423" y="1089"/>
                  </a:lnTo>
                  <a:lnTo>
                    <a:pt x="1423" y="1141"/>
                  </a:lnTo>
                  <a:lnTo>
                    <a:pt x="1406" y="1159"/>
                  </a:lnTo>
                  <a:lnTo>
                    <a:pt x="1370" y="1177"/>
                  </a:lnTo>
                  <a:lnTo>
                    <a:pt x="1353" y="1212"/>
                  </a:lnTo>
                  <a:lnTo>
                    <a:pt x="1370" y="1247"/>
                  </a:lnTo>
                  <a:lnTo>
                    <a:pt x="1406" y="1282"/>
                  </a:lnTo>
                  <a:lnTo>
                    <a:pt x="1441" y="1317"/>
                  </a:lnTo>
                  <a:lnTo>
                    <a:pt x="1458" y="1335"/>
                  </a:lnTo>
                  <a:lnTo>
                    <a:pt x="1423" y="1317"/>
                  </a:lnTo>
                  <a:lnTo>
                    <a:pt x="1370" y="1300"/>
                  </a:lnTo>
                  <a:lnTo>
                    <a:pt x="1353" y="1282"/>
                  </a:lnTo>
                  <a:lnTo>
                    <a:pt x="1335" y="1247"/>
                  </a:lnTo>
                  <a:lnTo>
                    <a:pt x="1353" y="1177"/>
                  </a:lnTo>
                  <a:lnTo>
                    <a:pt x="1388" y="1089"/>
                  </a:lnTo>
                  <a:lnTo>
                    <a:pt x="1353" y="1054"/>
                  </a:lnTo>
                  <a:lnTo>
                    <a:pt x="1335" y="1019"/>
                  </a:lnTo>
                  <a:lnTo>
                    <a:pt x="1300" y="983"/>
                  </a:lnTo>
                  <a:lnTo>
                    <a:pt x="1230" y="966"/>
                  </a:lnTo>
                  <a:lnTo>
                    <a:pt x="1177" y="983"/>
                  </a:lnTo>
                  <a:lnTo>
                    <a:pt x="1160" y="1036"/>
                  </a:lnTo>
                  <a:lnTo>
                    <a:pt x="1142" y="1106"/>
                  </a:lnTo>
                  <a:lnTo>
                    <a:pt x="1160" y="1229"/>
                  </a:lnTo>
                  <a:lnTo>
                    <a:pt x="1089" y="1282"/>
                  </a:lnTo>
                  <a:lnTo>
                    <a:pt x="1054" y="1335"/>
                  </a:lnTo>
                  <a:lnTo>
                    <a:pt x="1037" y="1370"/>
                  </a:lnTo>
                  <a:lnTo>
                    <a:pt x="1001" y="1387"/>
                  </a:lnTo>
                  <a:lnTo>
                    <a:pt x="949" y="1405"/>
                  </a:lnTo>
                  <a:lnTo>
                    <a:pt x="896" y="1422"/>
                  </a:lnTo>
                  <a:lnTo>
                    <a:pt x="878" y="1440"/>
                  </a:lnTo>
                  <a:lnTo>
                    <a:pt x="878" y="1475"/>
                  </a:lnTo>
                  <a:lnTo>
                    <a:pt x="808" y="1440"/>
                  </a:lnTo>
                  <a:lnTo>
                    <a:pt x="755" y="1422"/>
                  </a:lnTo>
                  <a:lnTo>
                    <a:pt x="703" y="1405"/>
                  </a:lnTo>
                  <a:lnTo>
                    <a:pt x="703" y="1387"/>
                  </a:lnTo>
                  <a:lnTo>
                    <a:pt x="685" y="1370"/>
                  </a:lnTo>
                  <a:lnTo>
                    <a:pt x="685" y="1335"/>
                  </a:lnTo>
                  <a:lnTo>
                    <a:pt x="650" y="1317"/>
                  </a:lnTo>
                  <a:lnTo>
                    <a:pt x="650" y="1300"/>
                  </a:lnTo>
                  <a:lnTo>
                    <a:pt x="703" y="1300"/>
                  </a:lnTo>
                  <a:lnTo>
                    <a:pt x="720" y="1300"/>
                  </a:lnTo>
                  <a:lnTo>
                    <a:pt x="738" y="1317"/>
                  </a:lnTo>
                  <a:lnTo>
                    <a:pt x="755" y="1352"/>
                  </a:lnTo>
                  <a:lnTo>
                    <a:pt x="773" y="1387"/>
                  </a:lnTo>
                  <a:lnTo>
                    <a:pt x="791" y="1405"/>
                  </a:lnTo>
                  <a:lnTo>
                    <a:pt x="826" y="1405"/>
                  </a:lnTo>
                  <a:lnTo>
                    <a:pt x="843" y="1405"/>
                  </a:lnTo>
                  <a:lnTo>
                    <a:pt x="861" y="1387"/>
                  </a:lnTo>
                  <a:lnTo>
                    <a:pt x="914" y="1317"/>
                  </a:lnTo>
                  <a:lnTo>
                    <a:pt x="966" y="1229"/>
                  </a:lnTo>
                  <a:lnTo>
                    <a:pt x="1037" y="1159"/>
                  </a:lnTo>
                  <a:lnTo>
                    <a:pt x="1054" y="1124"/>
                  </a:lnTo>
                  <a:lnTo>
                    <a:pt x="1072" y="1089"/>
                  </a:lnTo>
                  <a:lnTo>
                    <a:pt x="1107" y="1089"/>
                  </a:lnTo>
                  <a:lnTo>
                    <a:pt x="1107" y="1071"/>
                  </a:lnTo>
                  <a:lnTo>
                    <a:pt x="1107" y="1054"/>
                  </a:lnTo>
                  <a:lnTo>
                    <a:pt x="1072" y="948"/>
                  </a:lnTo>
                  <a:lnTo>
                    <a:pt x="1054" y="896"/>
                  </a:lnTo>
                  <a:lnTo>
                    <a:pt x="1054" y="860"/>
                  </a:lnTo>
                  <a:lnTo>
                    <a:pt x="1072" y="755"/>
                  </a:lnTo>
                  <a:lnTo>
                    <a:pt x="1160" y="562"/>
                  </a:lnTo>
                  <a:lnTo>
                    <a:pt x="1177" y="492"/>
                  </a:lnTo>
                  <a:lnTo>
                    <a:pt x="1160" y="474"/>
                  </a:lnTo>
                  <a:lnTo>
                    <a:pt x="1142" y="421"/>
                  </a:lnTo>
                  <a:lnTo>
                    <a:pt x="1142" y="369"/>
                  </a:lnTo>
                  <a:lnTo>
                    <a:pt x="1177" y="316"/>
                  </a:lnTo>
                  <a:lnTo>
                    <a:pt x="1195" y="298"/>
                  </a:lnTo>
                  <a:lnTo>
                    <a:pt x="1230" y="263"/>
                  </a:lnTo>
                  <a:lnTo>
                    <a:pt x="1265" y="193"/>
                  </a:lnTo>
                  <a:lnTo>
                    <a:pt x="1265" y="140"/>
                  </a:lnTo>
                  <a:lnTo>
                    <a:pt x="1247" y="105"/>
                  </a:lnTo>
                  <a:lnTo>
                    <a:pt x="1212" y="88"/>
                  </a:lnTo>
                  <a:lnTo>
                    <a:pt x="1160" y="52"/>
                  </a:lnTo>
                  <a:lnTo>
                    <a:pt x="1072" y="0"/>
                  </a:lnTo>
                  <a:lnTo>
                    <a:pt x="1054" y="17"/>
                  </a:lnTo>
                  <a:lnTo>
                    <a:pt x="1019" y="52"/>
                  </a:lnTo>
                  <a:lnTo>
                    <a:pt x="1001" y="105"/>
                  </a:lnTo>
                  <a:lnTo>
                    <a:pt x="949" y="193"/>
                  </a:lnTo>
                  <a:lnTo>
                    <a:pt x="931" y="246"/>
                  </a:lnTo>
                  <a:lnTo>
                    <a:pt x="896" y="281"/>
                  </a:lnTo>
                  <a:lnTo>
                    <a:pt x="843" y="298"/>
                  </a:lnTo>
                  <a:lnTo>
                    <a:pt x="773" y="316"/>
                  </a:lnTo>
                  <a:lnTo>
                    <a:pt x="755" y="351"/>
                  </a:lnTo>
                  <a:lnTo>
                    <a:pt x="738" y="369"/>
                  </a:lnTo>
                  <a:lnTo>
                    <a:pt x="755" y="421"/>
                  </a:lnTo>
                  <a:lnTo>
                    <a:pt x="773" y="456"/>
                  </a:lnTo>
                  <a:lnTo>
                    <a:pt x="773" y="474"/>
                  </a:lnTo>
                  <a:lnTo>
                    <a:pt x="755" y="492"/>
                  </a:lnTo>
                  <a:lnTo>
                    <a:pt x="738" y="527"/>
                  </a:lnTo>
                  <a:lnTo>
                    <a:pt x="720" y="562"/>
                  </a:lnTo>
                  <a:lnTo>
                    <a:pt x="685" y="615"/>
                  </a:lnTo>
                  <a:lnTo>
                    <a:pt x="668" y="650"/>
                  </a:lnTo>
                  <a:lnTo>
                    <a:pt x="668" y="667"/>
                  </a:lnTo>
                  <a:lnTo>
                    <a:pt x="703" y="685"/>
                  </a:lnTo>
                  <a:lnTo>
                    <a:pt x="738" y="720"/>
                  </a:lnTo>
                  <a:lnTo>
                    <a:pt x="738" y="755"/>
                  </a:lnTo>
                  <a:lnTo>
                    <a:pt x="755" y="790"/>
                  </a:lnTo>
                  <a:lnTo>
                    <a:pt x="773" y="825"/>
                  </a:lnTo>
                  <a:lnTo>
                    <a:pt x="773" y="878"/>
                  </a:lnTo>
                  <a:lnTo>
                    <a:pt x="755" y="913"/>
                  </a:lnTo>
                  <a:lnTo>
                    <a:pt x="720" y="931"/>
                  </a:lnTo>
                  <a:lnTo>
                    <a:pt x="703" y="931"/>
                  </a:lnTo>
                  <a:lnTo>
                    <a:pt x="668" y="913"/>
                  </a:lnTo>
                  <a:lnTo>
                    <a:pt x="633" y="843"/>
                  </a:lnTo>
                  <a:lnTo>
                    <a:pt x="527" y="650"/>
                  </a:lnTo>
                  <a:lnTo>
                    <a:pt x="492" y="702"/>
                  </a:lnTo>
                  <a:lnTo>
                    <a:pt x="492" y="720"/>
                  </a:lnTo>
                  <a:lnTo>
                    <a:pt x="474" y="737"/>
                  </a:lnTo>
                  <a:lnTo>
                    <a:pt x="492" y="790"/>
                  </a:lnTo>
                  <a:lnTo>
                    <a:pt x="510" y="808"/>
                  </a:lnTo>
                  <a:lnTo>
                    <a:pt x="510" y="843"/>
                  </a:lnTo>
                  <a:lnTo>
                    <a:pt x="510" y="878"/>
                  </a:lnTo>
                  <a:lnTo>
                    <a:pt x="492" y="896"/>
                  </a:lnTo>
                  <a:lnTo>
                    <a:pt x="474" y="913"/>
                  </a:lnTo>
                  <a:lnTo>
                    <a:pt x="457" y="948"/>
                  </a:lnTo>
                  <a:lnTo>
                    <a:pt x="474" y="983"/>
                  </a:lnTo>
                  <a:lnTo>
                    <a:pt x="492" y="1019"/>
                  </a:lnTo>
                  <a:lnTo>
                    <a:pt x="492" y="1054"/>
                  </a:lnTo>
                  <a:lnTo>
                    <a:pt x="474" y="1071"/>
                  </a:lnTo>
                  <a:lnTo>
                    <a:pt x="422" y="1124"/>
                  </a:lnTo>
                  <a:lnTo>
                    <a:pt x="281" y="1177"/>
                  </a:lnTo>
                  <a:lnTo>
                    <a:pt x="211" y="1212"/>
                  </a:lnTo>
                  <a:lnTo>
                    <a:pt x="158" y="1247"/>
                  </a:lnTo>
                  <a:lnTo>
                    <a:pt x="35" y="1300"/>
                  </a:lnTo>
                  <a:lnTo>
                    <a:pt x="53" y="1335"/>
                  </a:lnTo>
                  <a:lnTo>
                    <a:pt x="53" y="1405"/>
                  </a:lnTo>
                  <a:lnTo>
                    <a:pt x="53" y="1440"/>
                  </a:lnTo>
                  <a:lnTo>
                    <a:pt x="35" y="1475"/>
                  </a:lnTo>
                  <a:lnTo>
                    <a:pt x="18" y="1510"/>
                  </a:lnTo>
                  <a:lnTo>
                    <a:pt x="0" y="1528"/>
                  </a:lnTo>
                  <a:lnTo>
                    <a:pt x="18" y="1581"/>
                  </a:lnTo>
                  <a:lnTo>
                    <a:pt x="53" y="1598"/>
                  </a:lnTo>
                  <a:lnTo>
                    <a:pt x="53" y="1616"/>
                  </a:lnTo>
                  <a:lnTo>
                    <a:pt x="70" y="1633"/>
                  </a:lnTo>
                  <a:lnTo>
                    <a:pt x="141" y="1651"/>
                  </a:lnTo>
                  <a:lnTo>
                    <a:pt x="264" y="1651"/>
                  </a:lnTo>
                  <a:lnTo>
                    <a:pt x="281" y="1651"/>
                  </a:lnTo>
                  <a:lnTo>
                    <a:pt x="299" y="1668"/>
                  </a:lnTo>
                  <a:lnTo>
                    <a:pt x="316" y="1739"/>
                  </a:lnTo>
                  <a:lnTo>
                    <a:pt x="334" y="1791"/>
                  </a:lnTo>
                  <a:lnTo>
                    <a:pt x="351" y="1809"/>
                  </a:lnTo>
                  <a:lnTo>
                    <a:pt x="387" y="1826"/>
                  </a:lnTo>
                  <a:lnTo>
                    <a:pt x="422" y="1809"/>
                  </a:lnTo>
                  <a:lnTo>
                    <a:pt x="457" y="1791"/>
                  </a:lnTo>
                  <a:lnTo>
                    <a:pt x="457" y="1809"/>
                  </a:lnTo>
                  <a:lnTo>
                    <a:pt x="474" y="1809"/>
                  </a:lnTo>
                  <a:lnTo>
                    <a:pt x="510" y="1791"/>
                  </a:lnTo>
                  <a:lnTo>
                    <a:pt x="527" y="1791"/>
                  </a:lnTo>
                  <a:lnTo>
                    <a:pt x="580" y="1809"/>
                  </a:lnTo>
                  <a:lnTo>
                    <a:pt x="615" y="1844"/>
                  </a:lnTo>
                  <a:lnTo>
                    <a:pt x="633" y="1862"/>
                  </a:lnTo>
                  <a:lnTo>
                    <a:pt x="633" y="1897"/>
                  </a:lnTo>
                  <a:lnTo>
                    <a:pt x="668" y="1967"/>
                  </a:lnTo>
                  <a:lnTo>
                    <a:pt x="668" y="2002"/>
                  </a:lnTo>
                  <a:lnTo>
                    <a:pt x="685" y="2037"/>
                  </a:lnTo>
                  <a:lnTo>
                    <a:pt x="685" y="2055"/>
                  </a:lnTo>
                  <a:lnTo>
                    <a:pt x="703" y="2090"/>
                  </a:lnTo>
                  <a:lnTo>
                    <a:pt x="808" y="2090"/>
                  </a:lnTo>
                  <a:lnTo>
                    <a:pt x="843" y="2125"/>
                  </a:lnTo>
                  <a:lnTo>
                    <a:pt x="878" y="2160"/>
                  </a:lnTo>
                  <a:lnTo>
                    <a:pt x="931" y="2178"/>
                  </a:lnTo>
                  <a:lnTo>
                    <a:pt x="984" y="2195"/>
                  </a:lnTo>
                  <a:lnTo>
                    <a:pt x="1089" y="2213"/>
                  </a:lnTo>
                  <a:lnTo>
                    <a:pt x="1142" y="2266"/>
                  </a:lnTo>
                  <a:lnTo>
                    <a:pt x="1177" y="2301"/>
                  </a:lnTo>
                  <a:lnTo>
                    <a:pt x="1212" y="2353"/>
                  </a:lnTo>
                  <a:lnTo>
                    <a:pt x="1283" y="2371"/>
                  </a:lnTo>
                  <a:lnTo>
                    <a:pt x="1388" y="2371"/>
                  </a:lnTo>
                  <a:lnTo>
                    <a:pt x="1423" y="2353"/>
                  </a:lnTo>
                  <a:lnTo>
                    <a:pt x="1441" y="2336"/>
                  </a:lnTo>
                  <a:lnTo>
                    <a:pt x="1476" y="2301"/>
                  </a:lnTo>
                  <a:lnTo>
                    <a:pt x="1511" y="2283"/>
                  </a:lnTo>
                  <a:lnTo>
                    <a:pt x="1528" y="2301"/>
                  </a:lnTo>
                  <a:lnTo>
                    <a:pt x="1546" y="2318"/>
                  </a:lnTo>
                  <a:lnTo>
                    <a:pt x="1581" y="2371"/>
                  </a:lnTo>
                  <a:lnTo>
                    <a:pt x="1599" y="2371"/>
                  </a:lnTo>
                  <a:lnTo>
                    <a:pt x="1616" y="2371"/>
                  </a:lnTo>
                  <a:lnTo>
                    <a:pt x="1634" y="2371"/>
                  </a:lnTo>
                  <a:lnTo>
                    <a:pt x="1651" y="2371"/>
                  </a:lnTo>
                  <a:lnTo>
                    <a:pt x="1687" y="2406"/>
                  </a:lnTo>
                  <a:lnTo>
                    <a:pt x="1704" y="2424"/>
                  </a:lnTo>
                  <a:lnTo>
                    <a:pt x="1739" y="2441"/>
                  </a:lnTo>
                  <a:lnTo>
                    <a:pt x="1774" y="2441"/>
                  </a:lnTo>
                  <a:lnTo>
                    <a:pt x="1810" y="2476"/>
                  </a:lnTo>
                  <a:lnTo>
                    <a:pt x="1827" y="2494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13" name="Freeform 93"/>
            <p:cNvSpPr>
              <a:spLocks/>
            </p:cNvSpPr>
            <p:nvPr/>
          </p:nvSpPr>
          <p:spPr bwMode="auto">
            <a:xfrm>
              <a:off x="2956980" y="2945403"/>
              <a:ext cx="1043912" cy="649341"/>
            </a:xfrm>
            <a:custGeom>
              <a:avLst/>
              <a:gdLst>
                <a:gd name="T0" fmla="*/ 1652 w 1722"/>
                <a:gd name="T1" fmla="*/ 913 h 1071"/>
                <a:gd name="T2" fmla="*/ 1423 w 1722"/>
                <a:gd name="T3" fmla="*/ 1054 h 1071"/>
                <a:gd name="T4" fmla="*/ 1300 w 1722"/>
                <a:gd name="T5" fmla="*/ 1071 h 1071"/>
                <a:gd name="T6" fmla="*/ 791 w 1722"/>
                <a:gd name="T7" fmla="*/ 825 h 1071"/>
                <a:gd name="T8" fmla="*/ 668 w 1722"/>
                <a:gd name="T9" fmla="*/ 702 h 1071"/>
                <a:gd name="T10" fmla="*/ 615 w 1722"/>
                <a:gd name="T11" fmla="*/ 702 h 1071"/>
                <a:gd name="T12" fmla="*/ 369 w 1722"/>
                <a:gd name="T13" fmla="*/ 720 h 1071"/>
                <a:gd name="T14" fmla="*/ 264 w 1722"/>
                <a:gd name="T15" fmla="*/ 685 h 1071"/>
                <a:gd name="T16" fmla="*/ 176 w 1722"/>
                <a:gd name="T17" fmla="*/ 702 h 1071"/>
                <a:gd name="T18" fmla="*/ 141 w 1722"/>
                <a:gd name="T19" fmla="*/ 685 h 1071"/>
                <a:gd name="T20" fmla="*/ 88 w 1722"/>
                <a:gd name="T21" fmla="*/ 579 h 1071"/>
                <a:gd name="T22" fmla="*/ 0 w 1722"/>
                <a:gd name="T23" fmla="*/ 404 h 1071"/>
                <a:gd name="T24" fmla="*/ 53 w 1722"/>
                <a:gd name="T25" fmla="*/ 386 h 1071"/>
                <a:gd name="T26" fmla="*/ 88 w 1722"/>
                <a:gd name="T27" fmla="*/ 333 h 1071"/>
                <a:gd name="T28" fmla="*/ 71 w 1722"/>
                <a:gd name="T29" fmla="*/ 263 h 1071"/>
                <a:gd name="T30" fmla="*/ 123 w 1722"/>
                <a:gd name="T31" fmla="*/ 193 h 1071"/>
                <a:gd name="T32" fmla="*/ 229 w 1722"/>
                <a:gd name="T33" fmla="*/ 70 h 1071"/>
                <a:gd name="T34" fmla="*/ 229 w 1722"/>
                <a:gd name="T35" fmla="*/ 0 h 1071"/>
                <a:gd name="T36" fmla="*/ 299 w 1722"/>
                <a:gd name="T37" fmla="*/ 87 h 1071"/>
                <a:gd name="T38" fmla="*/ 369 w 1722"/>
                <a:gd name="T39" fmla="*/ 175 h 1071"/>
                <a:gd name="T40" fmla="*/ 334 w 1722"/>
                <a:gd name="T41" fmla="*/ 298 h 1071"/>
                <a:gd name="T42" fmla="*/ 246 w 1722"/>
                <a:gd name="T43" fmla="*/ 281 h 1071"/>
                <a:gd name="T44" fmla="*/ 159 w 1722"/>
                <a:gd name="T45" fmla="*/ 298 h 1071"/>
                <a:gd name="T46" fmla="*/ 176 w 1722"/>
                <a:gd name="T47" fmla="*/ 404 h 1071"/>
                <a:gd name="T48" fmla="*/ 229 w 1722"/>
                <a:gd name="T49" fmla="*/ 509 h 1071"/>
                <a:gd name="T50" fmla="*/ 282 w 1722"/>
                <a:gd name="T51" fmla="*/ 509 h 1071"/>
                <a:gd name="T52" fmla="*/ 422 w 1722"/>
                <a:gd name="T53" fmla="*/ 404 h 1071"/>
                <a:gd name="T54" fmla="*/ 580 w 1722"/>
                <a:gd name="T55" fmla="*/ 404 h 1071"/>
                <a:gd name="T56" fmla="*/ 756 w 1722"/>
                <a:gd name="T57" fmla="*/ 456 h 1071"/>
                <a:gd name="T58" fmla="*/ 826 w 1722"/>
                <a:gd name="T59" fmla="*/ 404 h 1071"/>
                <a:gd name="T60" fmla="*/ 914 w 1722"/>
                <a:gd name="T61" fmla="*/ 404 h 1071"/>
                <a:gd name="T62" fmla="*/ 896 w 1722"/>
                <a:gd name="T63" fmla="*/ 456 h 1071"/>
                <a:gd name="T64" fmla="*/ 879 w 1722"/>
                <a:gd name="T65" fmla="*/ 491 h 1071"/>
                <a:gd name="T66" fmla="*/ 896 w 1722"/>
                <a:gd name="T67" fmla="*/ 562 h 1071"/>
                <a:gd name="T68" fmla="*/ 932 w 1722"/>
                <a:gd name="T69" fmla="*/ 579 h 1071"/>
                <a:gd name="T70" fmla="*/ 1019 w 1722"/>
                <a:gd name="T71" fmla="*/ 544 h 1071"/>
                <a:gd name="T72" fmla="*/ 1195 w 1722"/>
                <a:gd name="T73" fmla="*/ 597 h 1071"/>
                <a:gd name="T74" fmla="*/ 1300 w 1722"/>
                <a:gd name="T75" fmla="*/ 614 h 1071"/>
                <a:gd name="T76" fmla="*/ 1248 w 1722"/>
                <a:gd name="T77" fmla="*/ 702 h 1071"/>
                <a:gd name="T78" fmla="*/ 1248 w 1722"/>
                <a:gd name="T79" fmla="*/ 737 h 1071"/>
                <a:gd name="T80" fmla="*/ 1300 w 1722"/>
                <a:gd name="T81" fmla="*/ 720 h 1071"/>
                <a:gd name="T82" fmla="*/ 1318 w 1722"/>
                <a:gd name="T83" fmla="*/ 667 h 1071"/>
                <a:gd name="T84" fmla="*/ 1388 w 1722"/>
                <a:gd name="T85" fmla="*/ 667 h 1071"/>
                <a:gd name="T86" fmla="*/ 1406 w 1722"/>
                <a:gd name="T87" fmla="*/ 597 h 1071"/>
                <a:gd name="T88" fmla="*/ 1406 w 1722"/>
                <a:gd name="T89" fmla="*/ 527 h 1071"/>
                <a:gd name="T90" fmla="*/ 1406 w 1722"/>
                <a:gd name="T91" fmla="*/ 491 h 1071"/>
                <a:gd name="T92" fmla="*/ 1476 w 1722"/>
                <a:gd name="T93" fmla="*/ 474 h 1071"/>
                <a:gd name="T94" fmla="*/ 1652 w 1722"/>
                <a:gd name="T95" fmla="*/ 597 h 1071"/>
                <a:gd name="T96" fmla="*/ 1722 w 1722"/>
                <a:gd name="T97" fmla="*/ 685 h 1071"/>
                <a:gd name="T98" fmla="*/ 1687 w 1722"/>
                <a:gd name="T99" fmla="*/ 755 h 1071"/>
                <a:gd name="T100" fmla="*/ 1687 w 1722"/>
                <a:gd name="T101" fmla="*/ 825 h 1071"/>
                <a:gd name="T102" fmla="*/ 1705 w 1722"/>
                <a:gd name="T103" fmla="*/ 878 h 1071"/>
                <a:gd name="T104" fmla="*/ 1705 w 1722"/>
                <a:gd name="T105" fmla="*/ 895 h 107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722"/>
                <a:gd name="T160" fmla="*/ 0 h 1071"/>
                <a:gd name="T161" fmla="*/ 1722 w 1722"/>
                <a:gd name="T162" fmla="*/ 1071 h 107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722" h="1071">
                  <a:moveTo>
                    <a:pt x="1705" y="895"/>
                  </a:moveTo>
                  <a:lnTo>
                    <a:pt x="1705" y="895"/>
                  </a:lnTo>
                  <a:lnTo>
                    <a:pt x="1652" y="913"/>
                  </a:lnTo>
                  <a:lnTo>
                    <a:pt x="1599" y="931"/>
                  </a:lnTo>
                  <a:lnTo>
                    <a:pt x="1511" y="1001"/>
                  </a:lnTo>
                  <a:lnTo>
                    <a:pt x="1423" y="1054"/>
                  </a:lnTo>
                  <a:lnTo>
                    <a:pt x="1371" y="1071"/>
                  </a:lnTo>
                  <a:lnTo>
                    <a:pt x="1300" y="1071"/>
                  </a:lnTo>
                  <a:lnTo>
                    <a:pt x="1090" y="966"/>
                  </a:lnTo>
                  <a:lnTo>
                    <a:pt x="791" y="825"/>
                  </a:lnTo>
                  <a:lnTo>
                    <a:pt x="738" y="772"/>
                  </a:lnTo>
                  <a:lnTo>
                    <a:pt x="703" y="737"/>
                  </a:lnTo>
                  <a:lnTo>
                    <a:pt x="668" y="702"/>
                  </a:lnTo>
                  <a:lnTo>
                    <a:pt x="633" y="685"/>
                  </a:lnTo>
                  <a:lnTo>
                    <a:pt x="615" y="702"/>
                  </a:lnTo>
                  <a:lnTo>
                    <a:pt x="492" y="720"/>
                  </a:lnTo>
                  <a:lnTo>
                    <a:pt x="369" y="720"/>
                  </a:lnTo>
                  <a:lnTo>
                    <a:pt x="299" y="720"/>
                  </a:lnTo>
                  <a:lnTo>
                    <a:pt x="282" y="702"/>
                  </a:lnTo>
                  <a:lnTo>
                    <a:pt x="264" y="685"/>
                  </a:lnTo>
                  <a:lnTo>
                    <a:pt x="211" y="685"/>
                  </a:lnTo>
                  <a:lnTo>
                    <a:pt x="176" y="702"/>
                  </a:lnTo>
                  <a:lnTo>
                    <a:pt x="159" y="702"/>
                  </a:lnTo>
                  <a:lnTo>
                    <a:pt x="141" y="685"/>
                  </a:lnTo>
                  <a:lnTo>
                    <a:pt x="123" y="632"/>
                  </a:lnTo>
                  <a:lnTo>
                    <a:pt x="88" y="579"/>
                  </a:lnTo>
                  <a:lnTo>
                    <a:pt x="53" y="527"/>
                  </a:lnTo>
                  <a:lnTo>
                    <a:pt x="18" y="474"/>
                  </a:lnTo>
                  <a:lnTo>
                    <a:pt x="0" y="404"/>
                  </a:lnTo>
                  <a:lnTo>
                    <a:pt x="36" y="386"/>
                  </a:lnTo>
                  <a:lnTo>
                    <a:pt x="53" y="386"/>
                  </a:lnTo>
                  <a:lnTo>
                    <a:pt x="88" y="369"/>
                  </a:lnTo>
                  <a:lnTo>
                    <a:pt x="88" y="333"/>
                  </a:lnTo>
                  <a:lnTo>
                    <a:pt x="71" y="298"/>
                  </a:lnTo>
                  <a:lnTo>
                    <a:pt x="71" y="281"/>
                  </a:lnTo>
                  <a:lnTo>
                    <a:pt x="71" y="263"/>
                  </a:lnTo>
                  <a:lnTo>
                    <a:pt x="71" y="228"/>
                  </a:lnTo>
                  <a:lnTo>
                    <a:pt x="123" y="193"/>
                  </a:lnTo>
                  <a:lnTo>
                    <a:pt x="194" y="140"/>
                  </a:lnTo>
                  <a:lnTo>
                    <a:pt x="229" y="105"/>
                  </a:lnTo>
                  <a:lnTo>
                    <a:pt x="229" y="70"/>
                  </a:lnTo>
                  <a:lnTo>
                    <a:pt x="229" y="17"/>
                  </a:lnTo>
                  <a:lnTo>
                    <a:pt x="229" y="0"/>
                  </a:lnTo>
                  <a:lnTo>
                    <a:pt x="246" y="0"/>
                  </a:lnTo>
                  <a:lnTo>
                    <a:pt x="264" y="35"/>
                  </a:lnTo>
                  <a:lnTo>
                    <a:pt x="299" y="87"/>
                  </a:lnTo>
                  <a:lnTo>
                    <a:pt x="352" y="123"/>
                  </a:lnTo>
                  <a:lnTo>
                    <a:pt x="369" y="175"/>
                  </a:lnTo>
                  <a:lnTo>
                    <a:pt x="369" y="246"/>
                  </a:lnTo>
                  <a:lnTo>
                    <a:pt x="352" y="281"/>
                  </a:lnTo>
                  <a:lnTo>
                    <a:pt x="334" y="298"/>
                  </a:lnTo>
                  <a:lnTo>
                    <a:pt x="317" y="298"/>
                  </a:lnTo>
                  <a:lnTo>
                    <a:pt x="246" y="281"/>
                  </a:lnTo>
                  <a:lnTo>
                    <a:pt x="194" y="281"/>
                  </a:lnTo>
                  <a:lnTo>
                    <a:pt x="176" y="298"/>
                  </a:lnTo>
                  <a:lnTo>
                    <a:pt x="159" y="298"/>
                  </a:lnTo>
                  <a:lnTo>
                    <a:pt x="176" y="351"/>
                  </a:lnTo>
                  <a:lnTo>
                    <a:pt x="176" y="404"/>
                  </a:lnTo>
                  <a:lnTo>
                    <a:pt x="176" y="456"/>
                  </a:lnTo>
                  <a:lnTo>
                    <a:pt x="229" y="509"/>
                  </a:lnTo>
                  <a:lnTo>
                    <a:pt x="246" y="527"/>
                  </a:lnTo>
                  <a:lnTo>
                    <a:pt x="282" y="509"/>
                  </a:lnTo>
                  <a:lnTo>
                    <a:pt x="352" y="421"/>
                  </a:lnTo>
                  <a:lnTo>
                    <a:pt x="387" y="404"/>
                  </a:lnTo>
                  <a:lnTo>
                    <a:pt x="422" y="404"/>
                  </a:lnTo>
                  <a:lnTo>
                    <a:pt x="492" y="404"/>
                  </a:lnTo>
                  <a:lnTo>
                    <a:pt x="580" y="404"/>
                  </a:lnTo>
                  <a:lnTo>
                    <a:pt x="738" y="404"/>
                  </a:lnTo>
                  <a:lnTo>
                    <a:pt x="756" y="456"/>
                  </a:lnTo>
                  <a:lnTo>
                    <a:pt x="791" y="456"/>
                  </a:lnTo>
                  <a:lnTo>
                    <a:pt x="809" y="439"/>
                  </a:lnTo>
                  <a:lnTo>
                    <a:pt x="826" y="404"/>
                  </a:lnTo>
                  <a:lnTo>
                    <a:pt x="914" y="404"/>
                  </a:lnTo>
                  <a:lnTo>
                    <a:pt x="967" y="421"/>
                  </a:lnTo>
                  <a:lnTo>
                    <a:pt x="949" y="421"/>
                  </a:lnTo>
                  <a:lnTo>
                    <a:pt x="896" y="456"/>
                  </a:lnTo>
                  <a:lnTo>
                    <a:pt x="879" y="474"/>
                  </a:lnTo>
                  <a:lnTo>
                    <a:pt x="879" y="491"/>
                  </a:lnTo>
                  <a:lnTo>
                    <a:pt x="826" y="509"/>
                  </a:lnTo>
                  <a:lnTo>
                    <a:pt x="896" y="562"/>
                  </a:lnTo>
                  <a:lnTo>
                    <a:pt x="914" y="562"/>
                  </a:lnTo>
                  <a:lnTo>
                    <a:pt x="932" y="579"/>
                  </a:lnTo>
                  <a:lnTo>
                    <a:pt x="949" y="579"/>
                  </a:lnTo>
                  <a:lnTo>
                    <a:pt x="1019" y="544"/>
                  </a:lnTo>
                  <a:lnTo>
                    <a:pt x="1072" y="579"/>
                  </a:lnTo>
                  <a:lnTo>
                    <a:pt x="1125" y="597"/>
                  </a:lnTo>
                  <a:lnTo>
                    <a:pt x="1195" y="597"/>
                  </a:lnTo>
                  <a:lnTo>
                    <a:pt x="1283" y="579"/>
                  </a:lnTo>
                  <a:lnTo>
                    <a:pt x="1300" y="614"/>
                  </a:lnTo>
                  <a:lnTo>
                    <a:pt x="1283" y="650"/>
                  </a:lnTo>
                  <a:lnTo>
                    <a:pt x="1248" y="667"/>
                  </a:lnTo>
                  <a:lnTo>
                    <a:pt x="1248" y="702"/>
                  </a:lnTo>
                  <a:lnTo>
                    <a:pt x="1248" y="720"/>
                  </a:lnTo>
                  <a:lnTo>
                    <a:pt x="1248" y="737"/>
                  </a:lnTo>
                  <a:lnTo>
                    <a:pt x="1265" y="755"/>
                  </a:lnTo>
                  <a:lnTo>
                    <a:pt x="1283" y="755"/>
                  </a:lnTo>
                  <a:lnTo>
                    <a:pt x="1300" y="720"/>
                  </a:lnTo>
                  <a:lnTo>
                    <a:pt x="1300" y="667"/>
                  </a:lnTo>
                  <a:lnTo>
                    <a:pt x="1318" y="667"/>
                  </a:lnTo>
                  <a:lnTo>
                    <a:pt x="1336" y="667"/>
                  </a:lnTo>
                  <a:lnTo>
                    <a:pt x="1371" y="667"/>
                  </a:lnTo>
                  <a:lnTo>
                    <a:pt x="1388" y="667"/>
                  </a:lnTo>
                  <a:lnTo>
                    <a:pt x="1406" y="667"/>
                  </a:lnTo>
                  <a:lnTo>
                    <a:pt x="1406" y="632"/>
                  </a:lnTo>
                  <a:lnTo>
                    <a:pt x="1406" y="597"/>
                  </a:lnTo>
                  <a:lnTo>
                    <a:pt x="1406" y="562"/>
                  </a:lnTo>
                  <a:lnTo>
                    <a:pt x="1406" y="527"/>
                  </a:lnTo>
                  <a:lnTo>
                    <a:pt x="1406" y="509"/>
                  </a:lnTo>
                  <a:lnTo>
                    <a:pt x="1406" y="491"/>
                  </a:lnTo>
                  <a:lnTo>
                    <a:pt x="1459" y="474"/>
                  </a:lnTo>
                  <a:lnTo>
                    <a:pt x="1476" y="474"/>
                  </a:lnTo>
                  <a:lnTo>
                    <a:pt x="1529" y="527"/>
                  </a:lnTo>
                  <a:lnTo>
                    <a:pt x="1599" y="562"/>
                  </a:lnTo>
                  <a:lnTo>
                    <a:pt x="1652" y="597"/>
                  </a:lnTo>
                  <a:lnTo>
                    <a:pt x="1705" y="650"/>
                  </a:lnTo>
                  <a:lnTo>
                    <a:pt x="1722" y="685"/>
                  </a:lnTo>
                  <a:lnTo>
                    <a:pt x="1687" y="737"/>
                  </a:lnTo>
                  <a:lnTo>
                    <a:pt x="1687" y="755"/>
                  </a:lnTo>
                  <a:lnTo>
                    <a:pt x="1669" y="772"/>
                  </a:lnTo>
                  <a:lnTo>
                    <a:pt x="1687" y="825"/>
                  </a:lnTo>
                  <a:lnTo>
                    <a:pt x="1705" y="843"/>
                  </a:lnTo>
                  <a:lnTo>
                    <a:pt x="1705" y="878"/>
                  </a:lnTo>
                  <a:lnTo>
                    <a:pt x="1705" y="913"/>
                  </a:lnTo>
                  <a:lnTo>
                    <a:pt x="1705" y="895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14" name="Freeform 94"/>
            <p:cNvSpPr>
              <a:spLocks/>
            </p:cNvSpPr>
            <p:nvPr/>
          </p:nvSpPr>
          <p:spPr bwMode="auto">
            <a:xfrm>
              <a:off x="7781891" y="847625"/>
              <a:ext cx="1171219" cy="1533318"/>
            </a:xfrm>
            <a:custGeom>
              <a:avLst/>
              <a:gdLst>
                <a:gd name="T0" fmla="*/ 913 w 1932"/>
                <a:gd name="T1" fmla="*/ 2265 h 2529"/>
                <a:gd name="T2" fmla="*/ 984 w 1932"/>
                <a:gd name="T3" fmla="*/ 2178 h 2529"/>
                <a:gd name="T4" fmla="*/ 1124 w 1932"/>
                <a:gd name="T5" fmla="*/ 2037 h 2529"/>
                <a:gd name="T6" fmla="*/ 1335 w 1932"/>
                <a:gd name="T7" fmla="*/ 1914 h 2529"/>
                <a:gd name="T8" fmla="*/ 1388 w 1932"/>
                <a:gd name="T9" fmla="*/ 1984 h 2529"/>
                <a:gd name="T10" fmla="*/ 1493 w 1932"/>
                <a:gd name="T11" fmla="*/ 2037 h 2529"/>
                <a:gd name="T12" fmla="*/ 1669 w 1932"/>
                <a:gd name="T13" fmla="*/ 1967 h 2529"/>
                <a:gd name="T14" fmla="*/ 1704 w 1932"/>
                <a:gd name="T15" fmla="*/ 1861 h 2529"/>
                <a:gd name="T16" fmla="*/ 1757 w 1932"/>
                <a:gd name="T17" fmla="*/ 1633 h 2529"/>
                <a:gd name="T18" fmla="*/ 1844 w 1932"/>
                <a:gd name="T19" fmla="*/ 1633 h 2529"/>
                <a:gd name="T20" fmla="*/ 1827 w 1932"/>
                <a:gd name="T21" fmla="*/ 1334 h 2529"/>
                <a:gd name="T22" fmla="*/ 1932 w 1932"/>
                <a:gd name="T23" fmla="*/ 1176 h 2529"/>
                <a:gd name="T24" fmla="*/ 1792 w 1932"/>
                <a:gd name="T25" fmla="*/ 1089 h 2529"/>
                <a:gd name="T26" fmla="*/ 1475 w 1932"/>
                <a:gd name="T27" fmla="*/ 1159 h 2529"/>
                <a:gd name="T28" fmla="*/ 1352 w 1932"/>
                <a:gd name="T29" fmla="*/ 1229 h 2529"/>
                <a:gd name="T30" fmla="*/ 1440 w 1932"/>
                <a:gd name="T31" fmla="*/ 1124 h 2529"/>
                <a:gd name="T32" fmla="*/ 1423 w 1932"/>
                <a:gd name="T33" fmla="*/ 878 h 2529"/>
                <a:gd name="T34" fmla="*/ 1212 w 1932"/>
                <a:gd name="T35" fmla="*/ 790 h 2529"/>
                <a:gd name="T36" fmla="*/ 1352 w 1932"/>
                <a:gd name="T37" fmla="*/ 737 h 2529"/>
                <a:gd name="T38" fmla="*/ 1388 w 1932"/>
                <a:gd name="T39" fmla="*/ 579 h 2529"/>
                <a:gd name="T40" fmla="*/ 1528 w 1932"/>
                <a:gd name="T41" fmla="*/ 544 h 2529"/>
                <a:gd name="T42" fmla="*/ 1616 w 1932"/>
                <a:gd name="T43" fmla="*/ 456 h 2529"/>
                <a:gd name="T44" fmla="*/ 1721 w 1932"/>
                <a:gd name="T45" fmla="*/ 368 h 2529"/>
                <a:gd name="T46" fmla="*/ 1651 w 1932"/>
                <a:gd name="T47" fmla="*/ 281 h 2529"/>
                <a:gd name="T48" fmla="*/ 1475 w 1932"/>
                <a:gd name="T49" fmla="*/ 245 h 2529"/>
                <a:gd name="T50" fmla="*/ 1493 w 1932"/>
                <a:gd name="T51" fmla="*/ 140 h 2529"/>
                <a:gd name="T52" fmla="*/ 1317 w 1932"/>
                <a:gd name="T53" fmla="*/ 52 h 2529"/>
                <a:gd name="T54" fmla="*/ 1159 w 1932"/>
                <a:gd name="T55" fmla="*/ 298 h 2529"/>
                <a:gd name="T56" fmla="*/ 1300 w 1932"/>
                <a:gd name="T57" fmla="*/ 316 h 2529"/>
                <a:gd name="T58" fmla="*/ 1194 w 1932"/>
                <a:gd name="T59" fmla="*/ 386 h 2529"/>
                <a:gd name="T60" fmla="*/ 861 w 1932"/>
                <a:gd name="T61" fmla="*/ 491 h 2529"/>
                <a:gd name="T62" fmla="*/ 439 w 1932"/>
                <a:gd name="T63" fmla="*/ 843 h 2529"/>
                <a:gd name="T64" fmla="*/ 193 w 1932"/>
                <a:gd name="T65" fmla="*/ 1247 h 2529"/>
                <a:gd name="T66" fmla="*/ 351 w 1932"/>
                <a:gd name="T67" fmla="*/ 1317 h 2529"/>
                <a:gd name="T68" fmla="*/ 439 w 1932"/>
                <a:gd name="T69" fmla="*/ 1387 h 2529"/>
                <a:gd name="T70" fmla="*/ 334 w 1932"/>
                <a:gd name="T71" fmla="*/ 1440 h 2529"/>
                <a:gd name="T72" fmla="*/ 175 w 1932"/>
                <a:gd name="T73" fmla="*/ 1457 h 2529"/>
                <a:gd name="T74" fmla="*/ 158 w 1932"/>
                <a:gd name="T75" fmla="*/ 1545 h 2529"/>
                <a:gd name="T76" fmla="*/ 17 w 1932"/>
                <a:gd name="T77" fmla="*/ 1774 h 2529"/>
                <a:gd name="T78" fmla="*/ 0 w 1932"/>
                <a:gd name="T79" fmla="*/ 1861 h 2529"/>
                <a:gd name="T80" fmla="*/ 35 w 1932"/>
                <a:gd name="T81" fmla="*/ 1879 h 2529"/>
                <a:gd name="T82" fmla="*/ 228 w 1932"/>
                <a:gd name="T83" fmla="*/ 2002 h 2529"/>
                <a:gd name="T84" fmla="*/ 193 w 1932"/>
                <a:gd name="T85" fmla="*/ 2072 h 2529"/>
                <a:gd name="T86" fmla="*/ 140 w 1932"/>
                <a:gd name="T87" fmla="*/ 2213 h 2529"/>
                <a:gd name="T88" fmla="*/ 123 w 1932"/>
                <a:gd name="T89" fmla="*/ 2336 h 2529"/>
                <a:gd name="T90" fmla="*/ 158 w 1932"/>
                <a:gd name="T91" fmla="*/ 2388 h 2529"/>
                <a:gd name="T92" fmla="*/ 316 w 1932"/>
                <a:gd name="T93" fmla="*/ 2406 h 2529"/>
                <a:gd name="T94" fmla="*/ 404 w 1932"/>
                <a:gd name="T95" fmla="*/ 2494 h 2529"/>
                <a:gd name="T96" fmla="*/ 509 w 1932"/>
                <a:gd name="T97" fmla="*/ 2529 h 2529"/>
                <a:gd name="T98" fmla="*/ 632 w 1932"/>
                <a:gd name="T99" fmla="*/ 2494 h 2529"/>
                <a:gd name="T100" fmla="*/ 773 w 1932"/>
                <a:gd name="T101" fmla="*/ 2441 h 2529"/>
                <a:gd name="T102" fmla="*/ 896 w 1932"/>
                <a:gd name="T103" fmla="*/ 2388 h 2529"/>
                <a:gd name="T104" fmla="*/ 913 w 1932"/>
                <a:gd name="T105" fmla="*/ 2353 h 252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932"/>
                <a:gd name="T160" fmla="*/ 0 h 2529"/>
                <a:gd name="T161" fmla="*/ 1932 w 1932"/>
                <a:gd name="T162" fmla="*/ 2529 h 252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932" h="2529">
                  <a:moveTo>
                    <a:pt x="913" y="2353"/>
                  </a:moveTo>
                  <a:lnTo>
                    <a:pt x="913" y="2353"/>
                  </a:lnTo>
                  <a:lnTo>
                    <a:pt x="913" y="2300"/>
                  </a:lnTo>
                  <a:lnTo>
                    <a:pt x="913" y="2265"/>
                  </a:lnTo>
                  <a:lnTo>
                    <a:pt x="931" y="2248"/>
                  </a:lnTo>
                  <a:lnTo>
                    <a:pt x="966" y="2230"/>
                  </a:lnTo>
                  <a:lnTo>
                    <a:pt x="984" y="2195"/>
                  </a:lnTo>
                  <a:lnTo>
                    <a:pt x="984" y="2178"/>
                  </a:lnTo>
                  <a:lnTo>
                    <a:pt x="1036" y="2125"/>
                  </a:lnTo>
                  <a:lnTo>
                    <a:pt x="1089" y="2090"/>
                  </a:lnTo>
                  <a:lnTo>
                    <a:pt x="1124" y="2037"/>
                  </a:lnTo>
                  <a:lnTo>
                    <a:pt x="1177" y="2002"/>
                  </a:lnTo>
                  <a:lnTo>
                    <a:pt x="1282" y="1949"/>
                  </a:lnTo>
                  <a:lnTo>
                    <a:pt x="1317" y="1932"/>
                  </a:lnTo>
                  <a:lnTo>
                    <a:pt x="1335" y="1914"/>
                  </a:lnTo>
                  <a:lnTo>
                    <a:pt x="1352" y="1896"/>
                  </a:lnTo>
                  <a:lnTo>
                    <a:pt x="1370" y="1914"/>
                  </a:lnTo>
                  <a:lnTo>
                    <a:pt x="1370" y="1932"/>
                  </a:lnTo>
                  <a:lnTo>
                    <a:pt x="1388" y="1984"/>
                  </a:lnTo>
                  <a:lnTo>
                    <a:pt x="1405" y="2019"/>
                  </a:lnTo>
                  <a:lnTo>
                    <a:pt x="1423" y="2037"/>
                  </a:lnTo>
                  <a:lnTo>
                    <a:pt x="1440" y="2055"/>
                  </a:lnTo>
                  <a:lnTo>
                    <a:pt x="1493" y="2037"/>
                  </a:lnTo>
                  <a:lnTo>
                    <a:pt x="1528" y="2002"/>
                  </a:lnTo>
                  <a:lnTo>
                    <a:pt x="1563" y="1984"/>
                  </a:lnTo>
                  <a:lnTo>
                    <a:pt x="1634" y="1984"/>
                  </a:lnTo>
                  <a:lnTo>
                    <a:pt x="1669" y="1967"/>
                  </a:lnTo>
                  <a:lnTo>
                    <a:pt x="1686" y="1949"/>
                  </a:lnTo>
                  <a:lnTo>
                    <a:pt x="1704" y="1914"/>
                  </a:lnTo>
                  <a:lnTo>
                    <a:pt x="1704" y="1861"/>
                  </a:lnTo>
                  <a:lnTo>
                    <a:pt x="1704" y="1791"/>
                  </a:lnTo>
                  <a:lnTo>
                    <a:pt x="1739" y="1738"/>
                  </a:lnTo>
                  <a:lnTo>
                    <a:pt x="1739" y="1668"/>
                  </a:lnTo>
                  <a:lnTo>
                    <a:pt x="1757" y="1633"/>
                  </a:lnTo>
                  <a:lnTo>
                    <a:pt x="1774" y="1633"/>
                  </a:lnTo>
                  <a:lnTo>
                    <a:pt x="1809" y="1651"/>
                  </a:lnTo>
                  <a:lnTo>
                    <a:pt x="1844" y="1633"/>
                  </a:lnTo>
                  <a:lnTo>
                    <a:pt x="1879" y="1615"/>
                  </a:lnTo>
                  <a:lnTo>
                    <a:pt x="1827" y="1352"/>
                  </a:lnTo>
                  <a:lnTo>
                    <a:pt x="1827" y="1334"/>
                  </a:lnTo>
                  <a:lnTo>
                    <a:pt x="1827" y="1317"/>
                  </a:lnTo>
                  <a:lnTo>
                    <a:pt x="1879" y="1282"/>
                  </a:lnTo>
                  <a:lnTo>
                    <a:pt x="1915" y="1229"/>
                  </a:lnTo>
                  <a:lnTo>
                    <a:pt x="1932" y="1176"/>
                  </a:lnTo>
                  <a:lnTo>
                    <a:pt x="1932" y="1141"/>
                  </a:lnTo>
                  <a:lnTo>
                    <a:pt x="1915" y="1106"/>
                  </a:lnTo>
                  <a:lnTo>
                    <a:pt x="1862" y="1089"/>
                  </a:lnTo>
                  <a:lnTo>
                    <a:pt x="1792" y="1089"/>
                  </a:lnTo>
                  <a:lnTo>
                    <a:pt x="1686" y="1089"/>
                  </a:lnTo>
                  <a:lnTo>
                    <a:pt x="1598" y="1089"/>
                  </a:lnTo>
                  <a:lnTo>
                    <a:pt x="1546" y="1106"/>
                  </a:lnTo>
                  <a:lnTo>
                    <a:pt x="1511" y="1124"/>
                  </a:lnTo>
                  <a:lnTo>
                    <a:pt x="1475" y="1159"/>
                  </a:lnTo>
                  <a:lnTo>
                    <a:pt x="1458" y="1211"/>
                  </a:lnTo>
                  <a:lnTo>
                    <a:pt x="1423" y="1229"/>
                  </a:lnTo>
                  <a:lnTo>
                    <a:pt x="1405" y="1247"/>
                  </a:lnTo>
                  <a:lnTo>
                    <a:pt x="1352" y="1229"/>
                  </a:lnTo>
                  <a:lnTo>
                    <a:pt x="1335" y="1211"/>
                  </a:lnTo>
                  <a:lnTo>
                    <a:pt x="1335" y="1194"/>
                  </a:lnTo>
                  <a:lnTo>
                    <a:pt x="1352" y="1176"/>
                  </a:lnTo>
                  <a:lnTo>
                    <a:pt x="1440" y="1124"/>
                  </a:lnTo>
                  <a:lnTo>
                    <a:pt x="1475" y="1071"/>
                  </a:lnTo>
                  <a:lnTo>
                    <a:pt x="1475" y="1018"/>
                  </a:lnTo>
                  <a:lnTo>
                    <a:pt x="1458" y="930"/>
                  </a:lnTo>
                  <a:lnTo>
                    <a:pt x="1423" y="878"/>
                  </a:lnTo>
                  <a:lnTo>
                    <a:pt x="1388" y="860"/>
                  </a:lnTo>
                  <a:lnTo>
                    <a:pt x="1352" y="843"/>
                  </a:lnTo>
                  <a:lnTo>
                    <a:pt x="1265" y="825"/>
                  </a:lnTo>
                  <a:lnTo>
                    <a:pt x="1229" y="808"/>
                  </a:lnTo>
                  <a:lnTo>
                    <a:pt x="1212" y="790"/>
                  </a:lnTo>
                  <a:lnTo>
                    <a:pt x="1212" y="755"/>
                  </a:lnTo>
                  <a:lnTo>
                    <a:pt x="1247" y="737"/>
                  </a:lnTo>
                  <a:lnTo>
                    <a:pt x="1317" y="737"/>
                  </a:lnTo>
                  <a:lnTo>
                    <a:pt x="1352" y="737"/>
                  </a:lnTo>
                  <a:lnTo>
                    <a:pt x="1388" y="720"/>
                  </a:lnTo>
                  <a:lnTo>
                    <a:pt x="1405" y="685"/>
                  </a:lnTo>
                  <a:lnTo>
                    <a:pt x="1388" y="632"/>
                  </a:lnTo>
                  <a:lnTo>
                    <a:pt x="1388" y="579"/>
                  </a:lnTo>
                  <a:lnTo>
                    <a:pt x="1405" y="544"/>
                  </a:lnTo>
                  <a:lnTo>
                    <a:pt x="1440" y="544"/>
                  </a:lnTo>
                  <a:lnTo>
                    <a:pt x="1475" y="544"/>
                  </a:lnTo>
                  <a:lnTo>
                    <a:pt x="1528" y="544"/>
                  </a:lnTo>
                  <a:lnTo>
                    <a:pt x="1546" y="544"/>
                  </a:lnTo>
                  <a:lnTo>
                    <a:pt x="1581" y="526"/>
                  </a:lnTo>
                  <a:lnTo>
                    <a:pt x="1581" y="509"/>
                  </a:lnTo>
                  <a:lnTo>
                    <a:pt x="1598" y="474"/>
                  </a:lnTo>
                  <a:lnTo>
                    <a:pt x="1616" y="456"/>
                  </a:lnTo>
                  <a:lnTo>
                    <a:pt x="1634" y="439"/>
                  </a:lnTo>
                  <a:lnTo>
                    <a:pt x="1669" y="439"/>
                  </a:lnTo>
                  <a:lnTo>
                    <a:pt x="1686" y="421"/>
                  </a:lnTo>
                  <a:lnTo>
                    <a:pt x="1721" y="368"/>
                  </a:lnTo>
                  <a:lnTo>
                    <a:pt x="1739" y="298"/>
                  </a:lnTo>
                  <a:lnTo>
                    <a:pt x="1721" y="263"/>
                  </a:lnTo>
                  <a:lnTo>
                    <a:pt x="1686" y="281"/>
                  </a:lnTo>
                  <a:lnTo>
                    <a:pt x="1651" y="281"/>
                  </a:lnTo>
                  <a:lnTo>
                    <a:pt x="1616" y="281"/>
                  </a:lnTo>
                  <a:lnTo>
                    <a:pt x="1598" y="263"/>
                  </a:lnTo>
                  <a:lnTo>
                    <a:pt x="1546" y="228"/>
                  </a:lnTo>
                  <a:lnTo>
                    <a:pt x="1528" y="228"/>
                  </a:lnTo>
                  <a:lnTo>
                    <a:pt x="1475" y="245"/>
                  </a:lnTo>
                  <a:lnTo>
                    <a:pt x="1458" y="245"/>
                  </a:lnTo>
                  <a:lnTo>
                    <a:pt x="1458" y="228"/>
                  </a:lnTo>
                  <a:lnTo>
                    <a:pt x="1493" y="175"/>
                  </a:lnTo>
                  <a:lnTo>
                    <a:pt x="1493" y="140"/>
                  </a:lnTo>
                  <a:lnTo>
                    <a:pt x="1493" y="87"/>
                  </a:lnTo>
                  <a:lnTo>
                    <a:pt x="1458" y="35"/>
                  </a:lnTo>
                  <a:lnTo>
                    <a:pt x="1405" y="0"/>
                  </a:lnTo>
                  <a:lnTo>
                    <a:pt x="1317" y="52"/>
                  </a:lnTo>
                  <a:lnTo>
                    <a:pt x="1229" y="105"/>
                  </a:lnTo>
                  <a:lnTo>
                    <a:pt x="1194" y="140"/>
                  </a:lnTo>
                  <a:lnTo>
                    <a:pt x="1177" y="175"/>
                  </a:lnTo>
                  <a:lnTo>
                    <a:pt x="1159" y="228"/>
                  </a:lnTo>
                  <a:lnTo>
                    <a:pt x="1159" y="298"/>
                  </a:lnTo>
                  <a:lnTo>
                    <a:pt x="1194" y="281"/>
                  </a:lnTo>
                  <a:lnTo>
                    <a:pt x="1247" y="298"/>
                  </a:lnTo>
                  <a:lnTo>
                    <a:pt x="1300" y="316"/>
                  </a:lnTo>
                  <a:lnTo>
                    <a:pt x="1282" y="386"/>
                  </a:lnTo>
                  <a:lnTo>
                    <a:pt x="1265" y="386"/>
                  </a:lnTo>
                  <a:lnTo>
                    <a:pt x="1229" y="404"/>
                  </a:lnTo>
                  <a:lnTo>
                    <a:pt x="1194" y="386"/>
                  </a:lnTo>
                  <a:lnTo>
                    <a:pt x="1142" y="368"/>
                  </a:lnTo>
                  <a:lnTo>
                    <a:pt x="1089" y="351"/>
                  </a:lnTo>
                  <a:lnTo>
                    <a:pt x="1001" y="368"/>
                  </a:lnTo>
                  <a:lnTo>
                    <a:pt x="861" y="491"/>
                  </a:lnTo>
                  <a:lnTo>
                    <a:pt x="702" y="597"/>
                  </a:lnTo>
                  <a:lnTo>
                    <a:pt x="562" y="702"/>
                  </a:lnTo>
                  <a:lnTo>
                    <a:pt x="492" y="772"/>
                  </a:lnTo>
                  <a:lnTo>
                    <a:pt x="439" y="843"/>
                  </a:lnTo>
                  <a:lnTo>
                    <a:pt x="369" y="948"/>
                  </a:lnTo>
                  <a:lnTo>
                    <a:pt x="316" y="1071"/>
                  </a:lnTo>
                  <a:lnTo>
                    <a:pt x="211" y="1211"/>
                  </a:lnTo>
                  <a:lnTo>
                    <a:pt x="193" y="1247"/>
                  </a:lnTo>
                  <a:lnTo>
                    <a:pt x="193" y="1282"/>
                  </a:lnTo>
                  <a:lnTo>
                    <a:pt x="246" y="1299"/>
                  </a:lnTo>
                  <a:lnTo>
                    <a:pt x="281" y="1317"/>
                  </a:lnTo>
                  <a:lnTo>
                    <a:pt x="351" y="1317"/>
                  </a:lnTo>
                  <a:lnTo>
                    <a:pt x="386" y="1317"/>
                  </a:lnTo>
                  <a:lnTo>
                    <a:pt x="404" y="1317"/>
                  </a:lnTo>
                  <a:lnTo>
                    <a:pt x="421" y="1334"/>
                  </a:lnTo>
                  <a:lnTo>
                    <a:pt x="439" y="1387"/>
                  </a:lnTo>
                  <a:lnTo>
                    <a:pt x="421" y="1422"/>
                  </a:lnTo>
                  <a:lnTo>
                    <a:pt x="404" y="1440"/>
                  </a:lnTo>
                  <a:lnTo>
                    <a:pt x="386" y="1457"/>
                  </a:lnTo>
                  <a:lnTo>
                    <a:pt x="334" y="1440"/>
                  </a:lnTo>
                  <a:lnTo>
                    <a:pt x="298" y="1475"/>
                  </a:lnTo>
                  <a:lnTo>
                    <a:pt x="263" y="1493"/>
                  </a:lnTo>
                  <a:lnTo>
                    <a:pt x="228" y="1475"/>
                  </a:lnTo>
                  <a:lnTo>
                    <a:pt x="175" y="1457"/>
                  </a:lnTo>
                  <a:lnTo>
                    <a:pt x="158" y="1457"/>
                  </a:lnTo>
                  <a:lnTo>
                    <a:pt x="158" y="1493"/>
                  </a:lnTo>
                  <a:lnTo>
                    <a:pt x="158" y="1545"/>
                  </a:lnTo>
                  <a:lnTo>
                    <a:pt x="158" y="1615"/>
                  </a:lnTo>
                  <a:lnTo>
                    <a:pt x="123" y="1668"/>
                  </a:lnTo>
                  <a:lnTo>
                    <a:pt x="70" y="1721"/>
                  </a:lnTo>
                  <a:lnTo>
                    <a:pt x="17" y="1774"/>
                  </a:lnTo>
                  <a:lnTo>
                    <a:pt x="0" y="1809"/>
                  </a:lnTo>
                  <a:lnTo>
                    <a:pt x="0" y="1844"/>
                  </a:lnTo>
                  <a:lnTo>
                    <a:pt x="0" y="1861"/>
                  </a:lnTo>
                  <a:lnTo>
                    <a:pt x="35" y="1861"/>
                  </a:lnTo>
                  <a:lnTo>
                    <a:pt x="35" y="1879"/>
                  </a:lnTo>
                  <a:lnTo>
                    <a:pt x="88" y="1879"/>
                  </a:lnTo>
                  <a:lnTo>
                    <a:pt x="158" y="1914"/>
                  </a:lnTo>
                  <a:lnTo>
                    <a:pt x="193" y="1949"/>
                  </a:lnTo>
                  <a:lnTo>
                    <a:pt x="228" y="2002"/>
                  </a:lnTo>
                  <a:lnTo>
                    <a:pt x="211" y="2037"/>
                  </a:lnTo>
                  <a:lnTo>
                    <a:pt x="211" y="2055"/>
                  </a:lnTo>
                  <a:lnTo>
                    <a:pt x="193" y="2072"/>
                  </a:lnTo>
                  <a:lnTo>
                    <a:pt x="175" y="2107"/>
                  </a:lnTo>
                  <a:lnTo>
                    <a:pt x="193" y="2125"/>
                  </a:lnTo>
                  <a:lnTo>
                    <a:pt x="158" y="2178"/>
                  </a:lnTo>
                  <a:lnTo>
                    <a:pt x="140" y="2213"/>
                  </a:lnTo>
                  <a:lnTo>
                    <a:pt x="105" y="2248"/>
                  </a:lnTo>
                  <a:lnTo>
                    <a:pt x="105" y="2300"/>
                  </a:lnTo>
                  <a:lnTo>
                    <a:pt x="105" y="2318"/>
                  </a:lnTo>
                  <a:lnTo>
                    <a:pt x="123" y="2336"/>
                  </a:lnTo>
                  <a:lnTo>
                    <a:pt x="158" y="2336"/>
                  </a:lnTo>
                  <a:lnTo>
                    <a:pt x="158" y="2353"/>
                  </a:lnTo>
                  <a:lnTo>
                    <a:pt x="158" y="2388"/>
                  </a:lnTo>
                  <a:lnTo>
                    <a:pt x="193" y="2406"/>
                  </a:lnTo>
                  <a:lnTo>
                    <a:pt x="246" y="2423"/>
                  </a:lnTo>
                  <a:lnTo>
                    <a:pt x="316" y="2406"/>
                  </a:lnTo>
                  <a:lnTo>
                    <a:pt x="351" y="2423"/>
                  </a:lnTo>
                  <a:lnTo>
                    <a:pt x="369" y="2459"/>
                  </a:lnTo>
                  <a:lnTo>
                    <a:pt x="386" y="2476"/>
                  </a:lnTo>
                  <a:lnTo>
                    <a:pt x="404" y="2494"/>
                  </a:lnTo>
                  <a:lnTo>
                    <a:pt x="439" y="2494"/>
                  </a:lnTo>
                  <a:lnTo>
                    <a:pt x="456" y="2476"/>
                  </a:lnTo>
                  <a:lnTo>
                    <a:pt x="492" y="2511"/>
                  </a:lnTo>
                  <a:lnTo>
                    <a:pt x="509" y="2529"/>
                  </a:lnTo>
                  <a:lnTo>
                    <a:pt x="544" y="2529"/>
                  </a:lnTo>
                  <a:lnTo>
                    <a:pt x="579" y="2529"/>
                  </a:lnTo>
                  <a:lnTo>
                    <a:pt x="597" y="2511"/>
                  </a:lnTo>
                  <a:lnTo>
                    <a:pt x="632" y="2494"/>
                  </a:lnTo>
                  <a:lnTo>
                    <a:pt x="702" y="2494"/>
                  </a:lnTo>
                  <a:lnTo>
                    <a:pt x="738" y="2476"/>
                  </a:lnTo>
                  <a:lnTo>
                    <a:pt x="773" y="2441"/>
                  </a:lnTo>
                  <a:lnTo>
                    <a:pt x="808" y="2423"/>
                  </a:lnTo>
                  <a:lnTo>
                    <a:pt x="825" y="2423"/>
                  </a:lnTo>
                  <a:lnTo>
                    <a:pt x="861" y="2423"/>
                  </a:lnTo>
                  <a:lnTo>
                    <a:pt x="896" y="2388"/>
                  </a:lnTo>
                  <a:lnTo>
                    <a:pt x="913" y="2371"/>
                  </a:lnTo>
                  <a:lnTo>
                    <a:pt x="913" y="2353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15" name="Freeform 95"/>
            <p:cNvSpPr>
              <a:spLocks/>
            </p:cNvSpPr>
            <p:nvPr/>
          </p:nvSpPr>
          <p:spPr bwMode="auto">
            <a:xfrm>
              <a:off x="8335371" y="1826790"/>
              <a:ext cx="777781" cy="1459350"/>
            </a:xfrm>
            <a:custGeom>
              <a:avLst/>
              <a:gdLst>
                <a:gd name="T0" fmla="*/ 1230 w 1283"/>
                <a:gd name="T1" fmla="*/ 2284 h 2407"/>
                <a:gd name="T2" fmla="*/ 1212 w 1283"/>
                <a:gd name="T3" fmla="*/ 2143 h 2407"/>
                <a:gd name="T4" fmla="*/ 1195 w 1283"/>
                <a:gd name="T5" fmla="*/ 1985 h 2407"/>
                <a:gd name="T6" fmla="*/ 1177 w 1283"/>
                <a:gd name="T7" fmla="*/ 1845 h 2407"/>
                <a:gd name="T8" fmla="*/ 1142 w 1283"/>
                <a:gd name="T9" fmla="*/ 1722 h 2407"/>
                <a:gd name="T10" fmla="*/ 1248 w 1283"/>
                <a:gd name="T11" fmla="*/ 1634 h 2407"/>
                <a:gd name="T12" fmla="*/ 1283 w 1283"/>
                <a:gd name="T13" fmla="*/ 1546 h 2407"/>
                <a:gd name="T14" fmla="*/ 1265 w 1283"/>
                <a:gd name="T15" fmla="*/ 1511 h 2407"/>
                <a:gd name="T16" fmla="*/ 1212 w 1283"/>
                <a:gd name="T17" fmla="*/ 1441 h 2407"/>
                <a:gd name="T18" fmla="*/ 1195 w 1283"/>
                <a:gd name="T19" fmla="*/ 1546 h 2407"/>
                <a:gd name="T20" fmla="*/ 1142 w 1283"/>
                <a:gd name="T21" fmla="*/ 1564 h 2407"/>
                <a:gd name="T22" fmla="*/ 896 w 1283"/>
                <a:gd name="T23" fmla="*/ 1195 h 2407"/>
                <a:gd name="T24" fmla="*/ 914 w 1283"/>
                <a:gd name="T25" fmla="*/ 1107 h 2407"/>
                <a:gd name="T26" fmla="*/ 914 w 1283"/>
                <a:gd name="T27" fmla="*/ 1019 h 2407"/>
                <a:gd name="T28" fmla="*/ 914 w 1283"/>
                <a:gd name="T29" fmla="*/ 896 h 2407"/>
                <a:gd name="T30" fmla="*/ 984 w 1283"/>
                <a:gd name="T31" fmla="*/ 949 h 2407"/>
                <a:gd name="T32" fmla="*/ 1037 w 1283"/>
                <a:gd name="T33" fmla="*/ 949 h 2407"/>
                <a:gd name="T34" fmla="*/ 949 w 1283"/>
                <a:gd name="T35" fmla="*/ 808 h 2407"/>
                <a:gd name="T36" fmla="*/ 1072 w 1283"/>
                <a:gd name="T37" fmla="*/ 598 h 2407"/>
                <a:gd name="T38" fmla="*/ 1177 w 1283"/>
                <a:gd name="T39" fmla="*/ 580 h 2407"/>
                <a:gd name="T40" fmla="*/ 966 w 1283"/>
                <a:gd name="T41" fmla="*/ 0 h 2407"/>
                <a:gd name="T42" fmla="*/ 896 w 1283"/>
                <a:gd name="T43" fmla="*/ 36 h 2407"/>
                <a:gd name="T44" fmla="*/ 826 w 1283"/>
                <a:gd name="T45" fmla="*/ 53 h 2407"/>
                <a:gd name="T46" fmla="*/ 791 w 1283"/>
                <a:gd name="T47" fmla="*/ 246 h 2407"/>
                <a:gd name="T48" fmla="*/ 773 w 1283"/>
                <a:gd name="T49" fmla="*/ 334 h 2407"/>
                <a:gd name="T50" fmla="*/ 615 w 1283"/>
                <a:gd name="T51" fmla="*/ 387 h 2407"/>
                <a:gd name="T52" fmla="*/ 527 w 1283"/>
                <a:gd name="T53" fmla="*/ 440 h 2407"/>
                <a:gd name="T54" fmla="*/ 457 w 1283"/>
                <a:gd name="T55" fmla="*/ 317 h 2407"/>
                <a:gd name="T56" fmla="*/ 422 w 1283"/>
                <a:gd name="T57" fmla="*/ 299 h 2407"/>
                <a:gd name="T58" fmla="*/ 264 w 1283"/>
                <a:gd name="T59" fmla="*/ 387 h 2407"/>
                <a:gd name="T60" fmla="*/ 123 w 1283"/>
                <a:gd name="T61" fmla="*/ 510 h 2407"/>
                <a:gd name="T62" fmla="*/ 53 w 1283"/>
                <a:gd name="T63" fmla="*/ 615 h 2407"/>
                <a:gd name="T64" fmla="*/ 0 w 1283"/>
                <a:gd name="T65" fmla="*/ 685 h 2407"/>
                <a:gd name="T66" fmla="*/ 71 w 1283"/>
                <a:gd name="T67" fmla="*/ 738 h 2407"/>
                <a:gd name="T68" fmla="*/ 88 w 1283"/>
                <a:gd name="T69" fmla="*/ 808 h 2407"/>
                <a:gd name="T70" fmla="*/ 158 w 1283"/>
                <a:gd name="T71" fmla="*/ 844 h 2407"/>
                <a:gd name="T72" fmla="*/ 246 w 1283"/>
                <a:gd name="T73" fmla="*/ 914 h 2407"/>
                <a:gd name="T74" fmla="*/ 352 w 1283"/>
                <a:gd name="T75" fmla="*/ 984 h 2407"/>
                <a:gd name="T76" fmla="*/ 422 w 1283"/>
                <a:gd name="T77" fmla="*/ 1089 h 2407"/>
                <a:gd name="T78" fmla="*/ 457 w 1283"/>
                <a:gd name="T79" fmla="*/ 1072 h 2407"/>
                <a:gd name="T80" fmla="*/ 510 w 1283"/>
                <a:gd name="T81" fmla="*/ 1089 h 2407"/>
                <a:gd name="T82" fmla="*/ 457 w 1283"/>
                <a:gd name="T83" fmla="*/ 966 h 2407"/>
                <a:gd name="T84" fmla="*/ 422 w 1283"/>
                <a:gd name="T85" fmla="*/ 826 h 2407"/>
                <a:gd name="T86" fmla="*/ 510 w 1283"/>
                <a:gd name="T87" fmla="*/ 773 h 2407"/>
                <a:gd name="T88" fmla="*/ 545 w 1283"/>
                <a:gd name="T89" fmla="*/ 984 h 2407"/>
                <a:gd name="T90" fmla="*/ 685 w 1283"/>
                <a:gd name="T91" fmla="*/ 1072 h 2407"/>
                <a:gd name="T92" fmla="*/ 773 w 1283"/>
                <a:gd name="T93" fmla="*/ 1529 h 2407"/>
                <a:gd name="T94" fmla="*/ 879 w 1283"/>
                <a:gd name="T95" fmla="*/ 1792 h 2407"/>
                <a:gd name="T96" fmla="*/ 861 w 1283"/>
                <a:gd name="T97" fmla="*/ 2020 h 2407"/>
                <a:gd name="T98" fmla="*/ 931 w 1283"/>
                <a:gd name="T99" fmla="*/ 2108 h 2407"/>
                <a:gd name="T100" fmla="*/ 1002 w 1283"/>
                <a:gd name="T101" fmla="*/ 2301 h 2407"/>
                <a:gd name="T102" fmla="*/ 1125 w 1283"/>
                <a:gd name="T103" fmla="*/ 2407 h 240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283"/>
                <a:gd name="T157" fmla="*/ 0 h 2407"/>
                <a:gd name="T158" fmla="*/ 1283 w 1283"/>
                <a:gd name="T159" fmla="*/ 2407 h 240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283" h="2407">
                  <a:moveTo>
                    <a:pt x="1125" y="2407"/>
                  </a:moveTo>
                  <a:lnTo>
                    <a:pt x="1125" y="2407"/>
                  </a:lnTo>
                  <a:lnTo>
                    <a:pt x="1195" y="2336"/>
                  </a:lnTo>
                  <a:lnTo>
                    <a:pt x="1230" y="2284"/>
                  </a:lnTo>
                  <a:lnTo>
                    <a:pt x="1230" y="2249"/>
                  </a:lnTo>
                  <a:lnTo>
                    <a:pt x="1230" y="2178"/>
                  </a:lnTo>
                  <a:lnTo>
                    <a:pt x="1212" y="2143"/>
                  </a:lnTo>
                  <a:lnTo>
                    <a:pt x="1195" y="2091"/>
                  </a:lnTo>
                  <a:lnTo>
                    <a:pt x="1177" y="2038"/>
                  </a:lnTo>
                  <a:lnTo>
                    <a:pt x="1195" y="1985"/>
                  </a:lnTo>
                  <a:lnTo>
                    <a:pt x="1212" y="1932"/>
                  </a:lnTo>
                  <a:lnTo>
                    <a:pt x="1195" y="1897"/>
                  </a:lnTo>
                  <a:lnTo>
                    <a:pt x="1177" y="1845"/>
                  </a:lnTo>
                  <a:lnTo>
                    <a:pt x="1142" y="1792"/>
                  </a:lnTo>
                  <a:lnTo>
                    <a:pt x="1125" y="1739"/>
                  </a:lnTo>
                  <a:lnTo>
                    <a:pt x="1142" y="1722"/>
                  </a:lnTo>
                  <a:lnTo>
                    <a:pt x="1160" y="1704"/>
                  </a:lnTo>
                  <a:lnTo>
                    <a:pt x="1230" y="1651"/>
                  </a:lnTo>
                  <a:lnTo>
                    <a:pt x="1248" y="1634"/>
                  </a:lnTo>
                  <a:lnTo>
                    <a:pt x="1265" y="1599"/>
                  </a:lnTo>
                  <a:lnTo>
                    <a:pt x="1283" y="1546"/>
                  </a:lnTo>
                  <a:lnTo>
                    <a:pt x="1265" y="1511"/>
                  </a:lnTo>
                  <a:lnTo>
                    <a:pt x="1265" y="1458"/>
                  </a:lnTo>
                  <a:lnTo>
                    <a:pt x="1230" y="1441"/>
                  </a:lnTo>
                  <a:lnTo>
                    <a:pt x="1212" y="1441"/>
                  </a:lnTo>
                  <a:lnTo>
                    <a:pt x="1177" y="1476"/>
                  </a:lnTo>
                  <a:lnTo>
                    <a:pt x="1177" y="1511"/>
                  </a:lnTo>
                  <a:lnTo>
                    <a:pt x="1195" y="1546"/>
                  </a:lnTo>
                  <a:lnTo>
                    <a:pt x="1195" y="1564"/>
                  </a:lnTo>
                  <a:lnTo>
                    <a:pt x="1160" y="1581"/>
                  </a:lnTo>
                  <a:lnTo>
                    <a:pt x="1142" y="1564"/>
                  </a:lnTo>
                  <a:lnTo>
                    <a:pt x="1107" y="1529"/>
                  </a:lnTo>
                  <a:lnTo>
                    <a:pt x="1037" y="1423"/>
                  </a:lnTo>
                  <a:lnTo>
                    <a:pt x="966" y="1300"/>
                  </a:lnTo>
                  <a:lnTo>
                    <a:pt x="896" y="1195"/>
                  </a:lnTo>
                  <a:lnTo>
                    <a:pt x="861" y="1160"/>
                  </a:lnTo>
                  <a:lnTo>
                    <a:pt x="879" y="1125"/>
                  </a:lnTo>
                  <a:lnTo>
                    <a:pt x="914" y="1107"/>
                  </a:lnTo>
                  <a:lnTo>
                    <a:pt x="949" y="1089"/>
                  </a:lnTo>
                  <a:lnTo>
                    <a:pt x="949" y="1054"/>
                  </a:lnTo>
                  <a:lnTo>
                    <a:pt x="914" y="1019"/>
                  </a:lnTo>
                  <a:lnTo>
                    <a:pt x="914" y="896"/>
                  </a:lnTo>
                  <a:lnTo>
                    <a:pt x="931" y="896"/>
                  </a:lnTo>
                  <a:lnTo>
                    <a:pt x="966" y="914"/>
                  </a:lnTo>
                  <a:lnTo>
                    <a:pt x="984" y="949"/>
                  </a:lnTo>
                  <a:lnTo>
                    <a:pt x="1019" y="966"/>
                  </a:lnTo>
                  <a:lnTo>
                    <a:pt x="1037" y="966"/>
                  </a:lnTo>
                  <a:lnTo>
                    <a:pt x="1037" y="949"/>
                  </a:lnTo>
                  <a:lnTo>
                    <a:pt x="1002" y="896"/>
                  </a:lnTo>
                  <a:lnTo>
                    <a:pt x="966" y="844"/>
                  </a:lnTo>
                  <a:lnTo>
                    <a:pt x="949" y="808"/>
                  </a:lnTo>
                  <a:lnTo>
                    <a:pt x="966" y="703"/>
                  </a:lnTo>
                  <a:lnTo>
                    <a:pt x="984" y="650"/>
                  </a:lnTo>
                  <a:lnTo>
                    <a:pt x="1037" y="615"/>
                  </a:lnTo>
                  <a:lnTo>
                    <a:pt x="1072" y="598"/>
                  </a:lnTo>
                  <a:lnTo>
                    <a:pt x="1160" y="580"/>
                  </a:lnTo>
                  <a:lnTo>
                    <a:pt x="1177" y="580"/>
                  </a:lnTo>
                  <a:lnTo>
                    <a:pt x="1142" y="492"/>
                  </a:lnTo>
                  <a:lnTo>
                    <a:pt x="1089" y="387"/>
                  </a:lnTo>
                  <a:lnTo>
                    <a:pt x="1019" y="211"/>
                  </a:lnTo>
                  <a:lnTo>
                    <a:pt x="966" y="0"/>
                  </a:lnTo>
                  <a:lnTo>
                    <a:pt x="931" y="18"/>
                  </a:lnTo>
                  <a:lnTo>
                    <a:pt x="896" y="36"/>
                  </a:lnTo>
                  <a:lnTo>
                    <a:pt x="861" y="18"/>
                  </a:lnTo>
                  <a:lnTo>
                    <a:pt x="844" y="18"/>
                  </a:lnTo>
                  <a:lnTo>
                    <a:pt x="826" y="53"/>
                  </a:lnTo>
                  <a:lnTo>
                    <a:pt x="826" y="123"/>
                  </a:lnTo>
                  <a:lnTo>
                    <a:pt x="791" y="176"/>
                  </a:lnTo>
                  <a:lnTo>
                    <a:pt x="791" y="246"/>
                  </a:lnTo>
                  <a:lnTo>
                    <a:pt x="791" y="299"/>
                  </a:lnTo>
                  <a:lnTo>
                    <a:pt x="773" y="334"/>
                  </a:lnTo>
                  <a:lnTo>
                    <a:pt x="756" y="352"/>
                  </a:lnTo>
                  <a:lnTo>
                    <a:pt x="721" y="369"/>
                  </a:lnTo>
                  <a:lnTo>
                    <a:pt x="650" y="369"/>
                  </a:lnTo>
                  <a:lnTo>
                    <a:pt x="615" y="387"/>
                  </a:lnTo>
                  <a:lnTo>
                    <a:pt x="580" y="422"/>
                  </a:lnTo>
                  <a:lnTo>
                    <a:pt x="527" y="440"/>
                  </a:lnTo>
                  <a:lnTo>
                    <a:pt x="510" y="422"/>
                  </a:lnTo>
                  <a:lnTo>
                    <a:pt x="492" y="404"/>
                  </a:lnTo>
                  <a:lnTo>
                    <a:pt x="475" y="369"/>
                  </a:lnTo>
                  <a:lnTo>
                    <a:pt x="457" y="317"/>
                  </a:lnTo>
                  <a:lnTo>
                    <a:pt x="457" y="299"/>
                  </a:lnTo>
                  <a:lnTo>
                    <a:pt x="439" y="281"/>
                  </a:lnTo>
                  <a:lnTo>
                    <a:pt x="422" y="299"/>
                  </a:lnTo>
                  <a:lnTo>
                    <a:pt x="404" y="317"/>
                  </a:lnTo>
                  <a:lnTo>
                    <a:pt x="369" y="334"/>
                  </a:lnTo>
                  <a:lnTo>
                    <a:pt x="264" y="387"/>
                  </a:lnTo>
                  <a:lnTo>
                    <a:pt x="211" y="422"/>
                  </a:lnTo>
                  <a:lnTo>
                    <a:pt x="176" y="475"/>
                  </a:lnTo>
                  <a:lnTo>
                    <a:pt x="123" y="510"/>
                  </a:lnTo>
                  <a:lnTo>
                    <a:pt x="71" y="563"/>
                  </a:lnTo>
                  <a:lnTo>
                    <a:pt x="71" y="580"/>
                  </a:lnTo>
                  <a:lnTo>
                    <a:pt x="53" y="615"/>
                  </a:lnTo>
                  <a:lnTo>
                    <a:pt x="18" y="633"/>
                  </a:lnTo>
                  <a:lnTo>
                    <a:pt x="0" y="650"/>
                  </a:lnTo>
                  <a:lnTo>
                    <a:pt x="0" y="685"/>
                  </a:lnTo>
                  <a:lnTo>
                    <a:pt x="0" y="738"/>
                  </a:lnTo>
                  <a:lnTo>
                    <a:pt x="71" y="738"/>
                  </a:lnTo>
                  <a:lnTo>
                    <a:pt x="88" y="756"/>
                  </a:lnTo>
                  <a:lnTo>
                    <a:pt x="88" y="773"/>
                  </a:lnTo>
                  <a:lnTo>
                    <a:pt x="88" y="808"/>
                  </a:lnTo>
                  <a:lnTo>
                    <a:pt x="88" y="826"/>
                  </a:lnTo>
                  <a:lnTo>
                    <a:pt x="106" y="844"/>
                  </a:lnTo>
                  <a:lnTo>
                    <a:pt x="158" y="844"/>
                  </a:lnTo>
                  <a:lnTo>
                    <a:pt x="246" y="914"/>
                  </a:lnTo>
                  <a:lnTo>
                    <a:pt x="264" y="966"/>
                  </a:lnTo>
                  <a:lnTo>
                    <a:pt x="281" y="984"/>
                  </a:lnTo>
                  <a:lnTo>
                    <a:pt x="352" y="984"/>
                  </a:lnTo>
                  <a:lnTo>
                    <a:pt x="387" y="1002"/>
                  </a:lnTo>
                  <a:lnTo>
                    <a:pt x="404" y="1037"/>
                  </a:lnTo>
                  <a:lnTo>
                    <a:pt x="404" y="1072"/>
                  </a:lnTo>
                  <a:lnTo>
                    <a:pt x="422" y="1089"/>
                  </a:lnTo>
                  <a:lnTo>
                    <a:pt x="439" y="1089"/>
                  </a:lnTo>
                  <a:lnTo>
                    <a:pt x="457" y="1072"/>
                  </a:lnTo>
                  <a:lnTo>
                    <a:pt x="475" y="1089"/>
                  </a:lnTo>
                  <a:lnTo>
                    <a:pt x="492" y="1107"/>
                  </a:lnTo>
                  <a:lnTo>
                    <a:pt x="510" y="1089"/>
                  </a:lnTo>
                  <a:lnTo>
                    <a:pt x="545" y="1072"/>
                  </a:lnTo>
                  <a:lnTo>
                    <a:pt x="492" y="1019"/>
                  </a:lnTo>
                  <a:lnTo>
                    <a:pt x="457" y="966"/>
                  </a:lnTo>
                  <a:lnTo>
                    <a:pt x="387" y="931"/>
                  </a:lnTo>
                  <a:lnTo>
                    <a:pt x="387" y="896"/>
                  </a:lnTo>
                  <a:lnTo>
                    <a:pt x="422" y="826"/>
                  </a:lnTo>
                  <a:lnTo>
                    <a:pt x="457" y="773"/>
                  </a:lnTo>
                  <a:lnTo>
                    <a:pt x="475" y="773"/>
                  </a:lnTo>
                  <a:lnTo>
                    <a:pt x="510" y="773"/>
                  </a:lnTo>
                  <a:lnTo>
                    <a:pt x="475" y="844"/>
                  </a:lnTo>
                  <a:lnTo>
                    <a:pt x="492" y="896"/>
                  </a:lnTo>
                  <a:lnTo>
                    <a:pt x="510" y="949"/>
                  </a:lnTo>
                  <a:lnTo>
                    <a:pt x="545" y="984"/>
                  </a:lnTo>
                  <a:lnTo>
                    <a:pt x="615" y="1037"/>
                  </a:lnTo>
                  <a:lnTo>
                    <a:pt x="650" y="1054"/>
                  </a:lnTo>
                  <a:lnTo>
                    <a:pt x="685" y="1072"/>
                  </a:lnTo>
                  <a:lnTo>
                    <a:pt x="703" y="1177"/>
                  </a:lnTo>
                  <a:lnTo>
                    <a:pt x="703" y="1265"/>
                  </a:lnTo>
                  <a:lnTo>
                    <a:pt x="721" y="1370"/>
                  </a:lnTo>
                  <a:lnTo>
                    <a:pt x="773" y="1529"/>
                  </a:lnTo>
                  <a:lnTo>
                    <a:pt x="826" y="1651"/>
                  </a:lnTo>
                  <a:lnTo>
                    <a:pt x="879" y="1792"/>
                  </a:lnTo>
                  <a:lnTo>
                    <a:pt x="879" y="1880"/>
                  </a:lnTo>
                  <a:lnTo>
                    <a:pt x="896" y="1932"/>
                  </a:lnTo>
                  <a:lnTo>
                    <a:pt x="879" y="2003"/>
                  </a:lnTo>
                  <a:lnTo>
                    <a:pt x="861" y="2020"/>
                  </a:lnTo>
                  <a:lnTo>
                    <a:pt x="861" y="2055"/>
                  </a:lnTo>
                  <a:lnTo>
                    <a:pt x="879" y="2073"/>
                  </a:lnTo>
                  <a:lnTo>
                    <a:pt x="931" y="2108"/>
                  </a:lnTo>
                  <a:lnTo>
                    <a:pt x="949" y="2126"/>
                  </a:lnTo>
                  <a:lnTo>
                    <a:pt x="966" y="2161"/>
                  </a:lnTo>
                  <a:lnTo>
                    <a:pt x="966" y="2214"/>
                  </a:lnTo>
                  <a:lnTo>
                    <a:pt x="1002" y="2301"/>
                  </a:lnTo>
                  <a:lnTo>
                    <a:pt x="1037" y="2354"/>
                  </a:lnTo>
                  <a:lnTo>
                    <a:pt x="1089" y="2407"/>
                  </a:lnTo>
                  <a:lnTo>
                    <a:pt x="1125" y="2407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16" name="Freeform 96"/>
            <p:cNvSpPr>
              <a:spLocks/>
            </p:cNvSpPr>
            <p:nvPr/>
          </p:nvSpPr>
          <p:spPr bwMode="auto">
            <a:xfrm>
              <a:off x="8229282" y="5074708"/>
              <a:ext cx="319478" cy="277076"/>
            </a:xfrm>
            <a:custGeom>
              <a:avLst/>
              <a:gdLst>
                <a:gd name="T0" fmla="*/ 509 w 527"/>
                <a:gd name="T1" fmla="*/ 71 h 457"/>
                <a:gd name="T2" fmla="*/ 509 w 527"/>
                <a:gd name="T3" fmla="*/ 71 h 457"/>
                <a:gd name="T4" fmla="*/ 509 w 527"/>
                <a:gd name="T5" fmla="*/ 53 h 457"/>
                <a:gd name="T6" fmla="*/ 491 w 527"/>
                <a:gd name="T7" fmla="*/ 53 h 457"/>
                <a:gd name="T8" fmla="*/ 491 w 527"/>
                <a:gd name="T9" fmla="*/ 53 h 457"/>
                <a:gd name="T10" fmla="*/ 439 w 527"/>
                <a:gd name="T11" fmla="*/ 88 h 457"/>
                <a:gd name="T12" fmla="*/ 421 w 527"/>
                <a:gd name="T13" fmla="*/ 141 h 457"/>
                <a:gd name="T14" fmla="*/ 351 w 527"/>
                <a:gd name="T15" fmla="*/ 281 h 457"/>
                <a:gd name="T16" fmla="*/ 351 w 527"/>
                <a:gd name="T17" fmla="*/ 281 h 457"/>
                <a:gd name="T18" fmla="*/ 298 w 527"/>
                <a:gd name="T19" fmla="*/ 369 h 457"/>
                <a:gd name="T20" fmla="*/ 210 w 527"/>
                <a:gd name="T21" fmla="*/ 440 h 457"/>
                <a:gd name="T22" fmla="*/ 175 w 527"/>
                <a:gd name="T23" fmla="*/ 457 h 457"/>
                <a:gd name="T24" fmla="*/ 140 w 527"/>
                <a:gd name="T25" fmla="*/ 457 h 457"/>
                <a:gd name="T26" fmla="*/ 123 w 527"/>
                <a:gd name="T27" fmla="*/ 457 h 457"/>
                <a:gd name="T28" fmla="*/ 105 w 527"/>
                <a:gd name="T29" fmla="*/ 422 h 457"/>
                <a:gd name="T30" fmla="*/ 105 w 527"/>
                <a:gd name="T31" fmla="*/ 422 h 457"/>
                <a:gd name="T32" fmla="*/ 52 w 527"/>
                <a:gd name="T33" fmla="*/ 334 h 457"/>
                <a:gd name="T34" fmla="*/ 35 w 527"/>
                <a:gd name="T35" fmla="*/ 299 h 457"/>
                <a:gd name="T36" fmla="*/ 0 w 527"/>
                <a:gd name="T37" fmla="*/ 299 h 457"/>
                <a:gd name="T38" fmla="*/ 0 w 527"/>
                <a:gd name="T39" fmla="*/ 299 h 457"/>
                <a:gd name="T40" fmla="*/ 17 w 527"/>
                <a:gd name="T41" fmla="*/ 264 h 457"/>
                <a:gd name="T42" fmla="*/ 17 w 527"/>
                <a:gd name="T43" fmla="*/ 229 h 457"/>
                <a:gd name="T44" fmla="*/ 17 w 527"/>
                <a:gd name="T45" fmla="*/ 229 h 457"/>
                <a:gd name="T46" fmla="*/ 17 w 527"/>
                <a:gd name="T47" fmla="*/ 194 h 457"/>
                <a:gd name="T48" fmla="*/ 17 w 527"/>
                <a:gd name="T49" fmla="*/ 194 h 457"/>
                <a:gd name="T50" fmla="*/ 35 w 527"/>
                <a:gd name="T51" fmla="*/ 176 h 457"/>
                <a:gd name="T52" fmla="*/ 35 w 527"/>
                <a:gd name="T53" fmla="*/ 176 h 457"/>
                <a:gd name="T54" fmla="*/ 52 w 527"/>
                <a:gd name="T55" fmla="*/ 141 h 457"/>
                <a:gd name="T56" fmla="*/ 52 w 527"/>
                <a:gd name="T57" fmla="*/ 141 h 457"/>
                <a:gd name="T58" fmla="*/ 70 w 527"/>
                <a:gd name="T59" fmla="*/ 141 h 457"/>
                <a:gd name="T60" fmla="*/ 70 w 527"/>
                <a:gd name="T61" fmla="*/ 141 h 457"/>
                <a:gd name="T62" fmla="*/ 70 w 527"/>
                <a:gd name="T63" fmla="*/ 141 h 457"/>
                <a:gd name="T64" fmla="*/ 105 w 527"/>
                <a:gd name="T65" fmla="*/ 123 h 457"/>
                <a:gd name="T66" fmla="*/ 105 w 527"/>
                <a:gd name="T67" fmla="*/ 123 h 457"/>
                <a:gd name="T68" fmla="*/ 105 w 527"/>
                <a:gd name="T69" fmla="*/ 88 h 457"/>
                <a:gd name="T70" fmla="*/ 105 w 527"/>
                <a:gd name="T71" fmla="*/ 88 h 457"/>
                <a:gd name="T72" fmla="*/ 105 w 527"/>
                <a:gd name="T73" fmla="*/ 71 h 457"/>
                <a:gd name="T74" fmla="*/ 123 w 527"/>
                <a:gd name="T75" fmla="*/ 71 h 457"/>
                <a:gd name="T76" fmla="*/ 193 w 527"/>
                <a:gd name="T77" fmla="*/ 71 h 457"/>
                <a:gd name="T78" fmla="*/ 193 w 527"/>
                <a:gd name="T79" fmla="*/ 71 h 457"/>
                <a:gd name="T80" fmla="*/ 210 w 527"/>
                <a:gd name="T81" fmla="*/ 53 h 457"/>
                <a:gd name="T82" fmla="*/ 210 w 527"/>
                <a:gd name="T83" fmla="*/ 53 h 457"/>
                <a:gd name="T84" fmla="*/ 298 w 527"/>
                <a:gd name="T85" fmla="*/ 53 h 457"/>
                <a:gd name="T86" fmla="*/ 369 w 527"/>
                <a:gd name="T87" fmla="*/ 71 h 457"/>
                <a:gd name="T88" fmla="*/ 369 w 527"/>
                <a:gd name="T89" fmla="*/ 71 h 457"/>
                <a:gd name="T90" fmla="*/ 404 w 527"/>
                <a:gd name="T91" fmla="*/ 71 h 457"/>
                <a:gd name="T92" fmla="*/ 421 w 527"/>
                <a:gd name="T93" fmla="*/ 53 h 457"/>
                <a:gd name="T94" fmla="*/ 421 w 527"/>
                <a:gd name="T95" fmla="*/ 18 h 457"/>
                <a:gd name="T96" fmla="*/ 421 w 527"/>
                <a:gd name="T97" fmla="*/ 18 h 457"/>
                <a:gd name="T98" fmla="*/ 439 w 527"/>
                <a:gd name="T99" fmla="*/ 0 h 457"/>
                <a:gd name="T100" fmla="*/ 456 w 527"/>
                <a:gd name="T101" fmla="*/ 0 h 457"/>
                <a:gd name="T102" fmla="*/ 491 w 527"/>
                <a:gd name="T103" fmla="*/ 0 h 457"/>
                <a:gd name="T104" fmla="*/ 491 w 527"/>
                <a:gd name="T105" fmla="*/ 0 h 457"/>
                <a:gd name="T106" fmla="*/ 527 w 527"/>
                <a:gd name="T107" fmla="*/ 0 h 457"/>
                <a:gd name="T108" fmla="*/ 527 w 527"/>
                <a:gd name="T109" fmla="*/ 0 h 457"/>
                <a:gd name="T110" fmla="*/ 527 w 527"/>
                <a:gd name="T111" fmla="*/ 0 h 457"/>
                <a:gd name="T112" fmla="*/ 527 w 527"/>
                <a:gd name="T113" fmla="*/ 71 h 457"/>
                <a:gd name="T114" fmla="*/ 527 w 527"/>
                <a:gd name="T115" fmla="*/ 71 h 457"/>
                <a:gd name="T116" fmla="*/ 509 w 527"/>
                <a:gd name="T117" fmla="*/ 71 h 457"/>
                <a:gd name="T118" fmla="*/ 509 w 527"/>
                <a:gd name="T119" fmla="*/ 71 h 457"/>
                <a:gd name="T120" fmla="*/ 509 w 527"/>
                <a:gd name="T121" fmla="*/ 71 h 4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27"/>
                <a:gd name="T184" fmla="*/ 0 h 457"/>
                <a:gd name="T185" fmla="*/ 527 w 527"/>
                <a:gd name="T186" fmla="*/ 457 h 45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27" h="457">
                  <a:moveTo>
                    <a:pt x="509" y="71"/>
                  </a:moveTo>
                  <a:lnTo>
                    <a:pt x="509" y="71"/>
                  </a:lnTo>
                  <a:lnTo>
                    <a:pt x="509" y="53"/>
                  </a:lnTo>
                  <a:lnTo>
                    <a:pt x="491" y="53"/>
                  </a:lnTo>
                  <a:lnTo>
                    <a:pt x="439" y="88"/>
                  </a:lnTo>
                  <a:lnTo>
                    <a:pt x="421" y="141"/>
                  </a:lnTo>
                  <a:lnTo>
                    <a:pt x="351" y="281"/>
                  </a:lnTo>
                  <a:lnTo>
                    <a:pt x="298" y="369"/>
                  </a:lnTo>
                  <a:lnTo>
                    <a:pt x="210" y="440"/>
                  </a:lnTo>
                  <a:lnTo>
                    <a:pt x="175" y="457"/>
                  </a:lnTo>
                  <a:lnTo>
                    <a:pt x="140" y="457"/>
                  </a:lnTo>
                  <a:lnTo>
                    <a:pt x="123" y="457"/>
                  </a:lnTo>
                  <a:lnTo>
                    <a:pt x="105" y="422"/>
                  </a:lnTo>
                  <a:lnTo>
                    <a:pt x="52" y="334"/>
                  </a:lnTo>
                  <a:lnTo>
                    <a:pt x="35" y="299"/>
                  </a:lnTo>
                  <a:lnTo>
                    <a:pt x="0" y="299"/>
                  </a:lnTo>
                  <a:lnTo>
                    <a:pt x="17" y="264"/>
                  </a:lnTo>
                  <a:lnTo>
                    <a:pt x="17" y="229"/>
                  </a:lnTo>
                  <a:lnTo>
                    <a:pt x="17" y="194"/>
                  </a:lnTo>
                  <a:lnTo>
                    <a:pt x="35" y="176"/>
                  </a:lnTo>
                  <a:lnTo>
                    <a:pt x="52" y="141"/>
                  </a:lnTo>
                  <a:lnTo>
                    <a:pt x="70" y="141"/>
                  </a:lnTo>
                  <a:lnTo>
                    <a:pt x="105" y="123"/>
                  </a:lnTo>
                  <a:lnTo>
                    <a:pt x="105" y="88"/>
                  </a:lnTo>
                  <a:lnTo>
                    <a:pt x="105" y="71"/>
                  </a:lnTo>
                  <a:lnTo>
                    <a:pt x="123" y="71"/>
                  </a:lnTo>
                  <a:lnTo>
                    <a:pt x="193" y="71"/>
                  </a:lnTo>
                  <a:lnTo>
                    <a:pt x="210" y="53"/>
                  </a:lnTo>
                  <a:lnTo>
                    <a:pt x="298" y="53"/>
                  </a:lnTo>
                  <a:lnTo>
                    <a:pt x="369" y="71"/>
                  </a:lnTo>
                  <a:lnTo>
                    <a:pt x="404" y="71"/>
                  </a:lnTo>
                  <a:lnTo>
                    <a:pt x="421" y="53"/>
                  </a:lnTo>
                  <a:lnTo>
                    <a:pt x="421" y="18"/>
                  </a:lnTo>
                  <a:lnTo>
                    <a:pt x="439" y="0"/>
                  </a:lnTo>
                  <a:lnTo>
                    <a:pt x="456" y="0"/>
                  </a:lnTo>
                  <a:lnTo>
                    <a:pt x="491" y="0"/>
                  </a:lnTo>
                  <a:lnTo>
                    <a:pt x="527" y="0"/>
                  </a:lnTo>
                  <a:lnTo>
                    <a:pt x="527" y="71"/>
                  </a:lnTo>
                  <a:lnTo>
                    <a:pt x="509" y="71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17" name="Line 97"/>
            <p:cNvSpPr>
              <a:spLocks noChangeShapeType="1"/>
            </p:cNvSpPr>
            <p:nvPr/>
          </p:nvSpPr>
          <p:spPr bwMode="auto">
            <a:xfrm>
              <a:off x="2179805" y="3392242"/>
              <a:ext cx="606" cy="606"/>
            </a:xfrm>
            <a:prstGeom prst="line">
              <a:avLst/>
            </a:pr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18" name="Freeform 98"/>
            <p:cNvSpPr>
              <a:spLocks/>
            </p:cNvSpPr>
            <p:nvPr/>
          </p:nvSpPr>
          <p:spPr bwMode="auto">
            <a:xfrm>
              <a:off x="2168893" y="3381935"/>
              <a:ext cx="10912" cy="10307"/>
            </a:xfrm>
            <a:custGeom>
              <a:avLst/>
              <a:gdLst>
                <a:gd name="T0" fmla="*/ 18 w 18"/>
                <a:gd name="T1" fmla="*/ 17 h 17"/>
                <a:gd name="T2" fmla="*/ 18 w 18"/>
                <a:gd name="T3" fmla="*/ 17 h 17"/>
                <a:gd name="T4" fmla="*/ 0 w 18"/>
                <a:gd name="T5" fmla="*/ 0 h 17"/>
                <a:gd name="T6" fmla="*/ 0 60000 65536"/>
                <a:gd name="T7" fmla="*/ 0 60000 65536"/>
                <a:gd name="T8" fmla="*/ 0 60000 65536"/>
                <a:gd name="T9" fmla="*/ 0 w 18"/>
                <a:gd name="T10" fmla="*/ 0 h 17"/>
                <a:gd name="T11" fmla="*/ 18 w 18"/>
                <a:gd name="T12" fmla="*/ 17 h 1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7">
                  <a:moveTo>
                    <a:pt x="18" y="17"/>
                  </a:moveTo>
                  <a:lnTo>
                    <a:pt x="18" y="17"/>
                  </a:lnTo>
                  <a:lnTo>
                    <a:pt x="0" y="0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19" name="Freeform 99"/>
            <p:cNvSpPr>
              <a:spLocks/>
            </p:cNvSpPr>
            <p:nvPr/>
          </p:nvSpPr>
          <p:spPr bwMode="auto">
            <a:xfrm>
              <a:off x="6226935" y="5255990"/>
              <a:ext cx="223695" cy="500799"/>
            </a:xfrm>
            <a:custGeom>
              <a:avLst/>
              <a:gdLst>
                <a:gd name="T0" fmla="*/ 316 w 369"/>
                <a:gd name="T1" fmla="*/ 0 h 826"/>
                <a:gd name="T2" fmla="*/ 316 w 369"/>
                <a:gd name="T3" fmla="*/ 0 h 826"/>
                <a:gd name="T4" fmla="*/ 334 w 369"/>
                <a:gd name="T5" fmla="*/ 53 h 826"/>
                <a:gd name="T6" fmla="*/ 351 w 369"/>
                <a:gd name="T7" fmla="*/ 70 h 826"/>
                <a:gd name="T8" fmla="*/ 369 w 369"/>
                <a:gd name="T9" fmla="*/ 88 h 826"/>
                <a:gd name="T10" fmla="*/ 369 w 369"/>
                <a:gd name="T11" fmla="*/ 88 h 826"/>
                <a:gd name="T12" fmla="*/ 334 w 369"/>
                <a:gd name="T13" fmla="*/ 351 h 826"/>
                <a:gd name="T14" fmla="*/ 334 w 369"/>
                <a:gd name="T15" fmla="*/ 351 h 826"/>
                <a:gd name="T16" fmla="*/ 281 w 369"/>
                <a:gd name="T17" fmla="*/ 422 h 826"/>
                <a:gd name="T18" fmla="*/ 211 w 369"/>
                <a:gd name="T19" fmla="*/ 509 h 826"/>
                <a:gd name="T20" fmla="*/ 211 w 369"/>
                <a:gd name="T21" fmla="*/ 509 h 826"/>
                <a:gd name="T22" fmla="*/ 140 w 369"/>
                <a:gd name="T23" fmla="*/ 580 h 826"/>
                <a:gd name="T24" fmla="*/ 123 w 369"/>
                <a:gd name="T25" fmla="*/ 615 h 826"/>
                <a:gd name="T26" fmla="*/ 105 w 369"/>
                <a:gd name="T27" fmla="*/ 667 h 826"/>
                <a:gd name="T28" fmla="*/ 105 w 369"/>
                <a:gd name="T29" fmla="*/ 667 h 826"/>
                <a:gd name="T30" fmla="*/ 88 w 369"/>
                <a:gd name="T31" fmla="*/ 720 h 826"/>
                <a:gd name="T32" fmla="*/ 53 w 369"/>
                <a:gd name="T33" fmla="*/ 755 h 826"/>
                <a:gd name="T34" fmla="*/ 0 w 369"/>
                <a:gd name="T35" fmla="*/ 773 h 826"/>
                <a:gd name="T36" fmla="*/ 0 w 369"/>
                <a:gd name="T37" fmla="*/ 808 h 826"/>
                <a:gd name="T38" fmla="*/ 0 w 369"/>
                <a:gd name="T39" fmla="*/ 808 h 826"/>
                <a:gd name="T40" fmla="*/ 0 w 369"/>
                <a:gd name="T41" fmla="*/ 826 h 8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69"/>
                <a:gd name="T64" fmla="*/ 0 h 826"/>
                <a:gd name="T65" fmla="*/ 369 w 369"/>
                <a:gd name="T66" fmla="*/ 826 h 82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69" h="826">
                  <a:moveTo>
                    <a:pt x="316" y="0"/>
                  </a:moveTo>
                  <a:lnTo>
                    <a:pt x="316" y="0"/>
                  </a:lnTo>
                  <a:lnTo>
                    <a:pt x="334" y="53"/>
                  </a:lnTo>
                  <a:lnTo>
                    <a:pt x="351" y="70"/>
                  </a:lnTo>
                  <a:lnTo>
                    <a:pt x="369" y="88"/>
                  </a:lnTo>
                  <a:lnTo>
                    <a:pt x="334" y="351"/>
                  </a:lnTo>
                  <a:lnTo>
                    <a:pt x="281" y="422"/>
                  </a:lnTo>
                  <a:lnTo>
                    <a:pt x="211" y="509"/>
                  </a:lnTo>
                  <a:lnTo>
                    <a:pt x="140" y="580"/>
                  </a:lnTo>
                  <a:lnTo>
                    <a:pt x="123" y="615"/>
                  </a:lnTo>
                  <a:lnTo>
                    <a:pt x="105" y="667"/>
                  </a:lnTo>
                  <a:lnTo>
                    <a:pt x="88" y="720"/>
                  </a:lnTo>
                  <a:lnTo>
                    <a:pt x="53" y="755"/>
                  </a:lnTo>
                  <a:lnTo>
                    <a:pt x="0" y="773"/>
                  </a:lnTo>
                  <a:lnTo>
                    <a:pt x="0" y="808"/>
                  </a:lnTo>
                  <a:lnTo>
                    <a:pt x="0" y="826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20" name="Freeform 100"/>
            <p:cNvSpPr>
              <a:spLocks/>
            </p:cNvSpPr>
            <p:nvPr/>
          </p:nvSpPr>
          <p:spPr bwMode="auto">
            <a:xfrm>
              <a:off x="2137369" y="3392242"/>
              <a:ext cx="84871" cy="21220"/>
            </a:xfrm>
            <a:custGeom>
              <a:avLst/>
              <a:gdLst>
                <a:gd name="T0" fmla="*/ 0 w 140"/>
                <a:gd name="T1" fmla="*/ 35 h 35"/>
                <a:gd name="T2" fmla="*/ 0 w 140"/>
                <a:gd name="T3" fmla="*/ 35 h 35"/>
                <a:gd name="T4" fmla="*/ 70 w 140"/>
                <a:gd name="T5" fmla="*/ 0 h 35"/>
                <a:gd name="T6" fmla="*/ 70 w 140"/>
                <a:gd name="T7" fmla="*/ 0 h 35"/>
                <a:gd name="T8" fmla="*/ 105 w 140"/>
                <a:gd name="T9" fmla="*/ 18 h 35"/>
                <a:gd name="T10" fmla="*/ 140 w 140"/>
                <a:gd name="T11" fmla="*/ 18 h 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0"/>
                <a:gd name="T19" fmla="*/ 0 h 35"/>
                <a:gd name="T20" fmla="*/ 140 w 140"/>
                <a:gd name="T21" fmla="*/ 35 h 3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0" h="35">
                  <a:moveTo>
                    <a:pt x="0" y="35"/>
                  </a:moveTo>
                  <a:lnTo>
                    <a:pt x="0" y="35"/>
                  </a:lnTo>
                  <a:lnTo>
                    <a:pt x="70" y="0"/>
                  </a:lnTo>
                  <a:lnTo>
                    <a:pt x="105" y="18"/>
                  </a:lnTo>
                  <a:lnTo>
                    <a:pt x="140" y="18"/>
                  </a:lnTo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01"/>
            <p:cNvSpPr>
              <a:spLocks/>
            </p:cNvSpPr>
            <p:nvPr/>
          </p:nvSpPr>
          <p:spPr bwMode="auto">
            <a:xfrm>
              <a:off x="6152370" y="5128062"/>
              <a:ext cx="351608" cy="628727"/>
            </a:xfrm>
            <a:custGeom>
              <a:avLst/>
              <a:gdLst>
                <a:gd name="T0" fmla="*/ 562 w 580"/>
                <a:gd name="T1" fmla="*/ 141 h 1037"/>
                <a:gd name="T2" fmla="*/ 562 w 580"/>
                <a:gd name="T3" fmla="*/ 141 h 1037"/>
                <a:gd name="T4" fmla="*/ 527 w 580"/>
                <a:gd name="T5" fmla="*/ 35 h 1037"/>
                <a:gd name="T6" fmla="*/ 509 w 580"/>
                <a:gd name="T7" fmla="*/ 0 h 1037"/>
                <a:gd name="T8" fmla="*/ 457 w 580"/>
                <a:gd name="T9" fmla="*/ 35 h 1037"/>
                <a:gd name="T10" fmla="*/ 457 w 580"/>
                <a:gd name="T11" fmla="*/ 71 h 1037"/>
                <a:gd name="T12" fmla="*/ 474 w 580"/>
                <a:gd name="T13" fmla="*/ 141 h 1037"/>
                <a:gd name="T14" fmla="*/ 439 w 580"/>
                <a:gd name="T15" fmla="*/ 264 h 1037"/>
                <a:gd name="T16" fmla="*/ 439 w 580"/>
                <a:gd name="T17" fmla="*/ 404 h 1037"/>
                <a:gd name="T18" fmla="*/ 439 w 580"/>
                <a:gd name="T19" fmla="*/ 404 h 1037"/>
                <a:gd name="T20" fmla="*/ 369 w 580"/>
                <a:gd name="T21" fmla="*/ 492 h 1037"/>
                <a:gd name="T22" fmla="*/ 351 w 580"/>
                <a:gd name="T23" fmla="*/ 562 h 1037"/>
                <a:gd name="T24" fmla="*/ 334 w 580"/>
                <a:gd name="T25" fmla="*/ 580 h 1037"/>
                <a:gd name="T26" fmla="*/ 316 w 580"/>
                <a:gd name="T27" fmla="*/ 615 h 1037"/>
                <a:gd name="T28" fmla="*/ 246 w 580"/>
                <a:gd name="T29" fmla="*/ 756 h 1037"/>
                <a:gd name="T30" fmla="*/ 211 w 580"/>
                <a:gd name="T31" fmla="*/ 826 h 1037"/>
                <a:gd name="T32" fmla="*/ 158 w 580"/>
                <a:gd name="T33" fmla="*/ 896 h 1037"/>
                <a:gd name="T34" fmla="*/ 35 w 580"/>
                <a:gd name="T35" fmla="*/ 984 h 1037"/>
                <a:gd name="T36" fmla="*/ 0 w 580"/>
                <a:gd name="T37" fmla="*/ 1001 h 1037"/>
                <a:gd name="T38" fmla="*/ 35 w 580"/>
                <a:gd name="T39" fmla="*/ 1019 h 1037"/>
                <a:gd name="T40" fmla="*/ 70 w 580"/>
                <a:gd name="T41" fmla="*/ 1037 h 1037"/>
                <a:gd name="T42" fmla="*/ 211 w 580"/>
                <a:gd name="T43" fmla="*/ 984 h 1037"/>
                <a:gd name="T44" fmla="*/ 298 w 580"/>
                <a:gd name="T45" fmla="*/ 914 h 1037"/>
                <a:gd name="T46" fmla="*/ 298 w 580"/>
                <a:gd name="T47" fmla="*/ 878 h 1037"/>
                <a:gd name="T48" fmla="*/ 298 w 580"/>
                <a:gd name="T49" fmla="*/ 826 h 1037"/>
                <a:gd name="T50" fmla="*/ 334 w 580"/>
                <a:gd name="T51" fmla="*/ 773 h 1037"/>
                <a:gd name="T52" fmla="*/ 369 w 580"/>
                <a:gd name="T53" fmla="*/ 738 h 1037"/>
                <a:gd name="T54" fmla="*/ 386 w 580"/>
                <a:gd name="T55" fmla="*/ 720 h 1037"/>
                <a:gd name="T56" fmla="*/ 457 w 580"/>
                <a:gd name="T57" fmla="*/ 668 h 1037"/>
                <a:gd name="T58" fmla="*/ 474 w 580"/>
                <a:gd name="T59" fmla="*/ 650 h 1037"/>
                <a:gd name="T60" fmla="*/ 492 w 580"/>
                <a:gd name="T61" fmla="*/ 597 h 1037"/>
                <a:gd name="T62" fmla="*/ 527 w 580"/>
                <a:gd name="T63" fmla="*/ 545 h 1037"/>
                <a:gd name="T64" fmla="*/ 562 w 580"/>
                <a:gd name="T65" fmla="*/ 492 h 1037"/>
                <a:gd name="T66" fmla="*/ 544 w 580"/>
                <a:gd name="T67" fmla="*/ 475 h 1037"/>
                <a:gd name="T68" fmla="*/ 509 w 580"/>
                <a:gd name="T69" fmla="*/ 475 h 1037"/>
                <a:gd name="T70" fmla="*/ 509 w 580"/>
                <a:gd name="T71" fmla="*/ 422 h 1037"/>
                <a:gd name="T72" fmla="*/ 527 w 580"/>
                <a:gd name="T73" fmla="*/ 422 h 1037"/>
                <a:gd name="T74" fmla="*/ 562 w 580"/>
                <a:gd name="T75" fmla="*/ 404 h 1037"/>
                <a:gd name="T76" fmla="*/ 580 w 580"/>
                <a:gd name="T77" fmla="*/ 334 h 1037"/>
                <a:gd name="T78" fmla="*/ 544 w 580"/>
                <a:gd name="T79" fmla="*/ 229 h 1037"/>
                <a:gd name="T80" fmla="*/ 544 w 580"/>
                <a:gd name="T81" fmla="*/ 229 h 103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80"/>
                <a:gd name="T124" fmla="*/ 0 h 1037"/>
                <a:gd name="T125" fmla="*/ 580 w 580"/>
                <a:gd name="T126" fmla="*/ 1037 h 103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80" h="1037">
                  <a:moveTo>
                    <a:pt x="544" y="229"/>
                  </a:moveTo>
                  <a:lnTo>
                    <a:pt x="562" y="141"/>
                  </a:lnTo>
                  <a:lnTo>
                    <a:pt x="544" y="71"/>
                  </a:lnTo>
                  <a:lnTo>
                    <a:pt x="527" y="35"/>
                  </a:lnTo>
                  <a:lnTo>
                    <a:pt x="509" y="0"/>
                  </a:lnTo>
                  <a:lnTo>
                    <a:pt x="474" y="18"/>
                  </a:lnTo>
                  <a:lnTo>
                    <a:pt x="457" y="35"/>
                  </a:lnTo>
                  <a:lnTo>
                    <a:pt x="457" y="71"/>
                  </a:lnTo>
                  <a:lnTo>
                    <a:pt x="457" y="106"/>
                  </a:lnTo>
                  <a:lnTo>
                    <a:pt x="474" y="141"/>
                  </a:lnTo>
                  <a:lnTo>
                    <a:pt x="439" y="264"/>
                  </a:lnTo>
                  <a:lnTo>
                    <a:pt x="439" y="404"/>
                  </a:lnTo>
                  <a:lnTo>
                    <a:pt x="369" y="492"/>
                  </a:lnTo>
                  <a:lnTo>
                    <a:pt x="369" y="527"/>
                  </a:lnTo>
                  <a:lnTo>
                    <a:pt x="351" y="562"/>
                  </a:lnTo>
                  <a:lnTo>
                    <a:pt x="334" y="580"/>
                  </a:lnTo>
                  <a:lnTo>
                    <a:pt x="316" y="615"/>
                  </a:lnTo>
                  <a:lnTo>
                    <a:pt x="281" y="685"/>
                  </a:lnTo>
                  <a:lnTo>
                    <a:pt x="246" y="756"/>
                  </a:lnTo>
                  <a:lnTo>
                    <a:pt x="211" y="826"/>
                  </a:lnTo>
                  <a:lnTo>
                    <a:pt x="158" y="896"/>
                  </a:lnTo>
                  <a:lnTo>
                    <a:pt x="70" y="949"/>
                  </a:lnTo>
                  <a:lnTo>
                    <a:pt x="35" y="984"/>
                  </a:lnTo>
                  <a:lnTo>
                    <a:pt x="0" y="1001"/>
                  </a:lnTo>
                  <a:lnTo>
                    <a:pt x="17" y="1019"/>
                  </a:lnTo>
                  <a:lnTo>
                    <a:pt x="35" y="1019"/>
                  </a:lnTo>
                  <a:lnTo>
                    <a:pt x="70" y="1037"/>
                  </a:lnTo>
                  <a:lnTo>
                    <a:pt x="140" y="1019"/>
                  </a:lnTo>
                  <a:lnTo>
                    <a:pt x="211" y="984"/>
                  </a:lnTo>
                  <a:lnTo>
                    <a:pt x="281" y="931"/>
                  </a:lnTo>
                  <a:lnTo>
                    <a:pt x="298" y="914"/>
                  </a:lnTo>
                  <a:lnTo>
                    <a:pt x="298" y="878"/>
                  </a:lnTo>
                  <a:lnTo>
                    <a:pt x="298" y="826"/>
                  </a:lnTo>
                  <a:lnTo>
                    <a:pt x="316" y="791"/>
                  </a:lnTo>
                  <a:lnTo>
                    <a:pt x="334" y="773"/>
                  </a:lnTo>
                  <a:lnTo>
                    <a:pt x="369" y="738"/>
                  </a:lnTo>
                  <a:lnTo>
                    <a:pt x="386" y="720"/>
                  </a:lnTo>
                  <a:lnTo>
                    <a:pt x="421" y="685"/>
                  </a:lnTo>
                  <a:lnTo>
                    <a:pt x="457" y="668"/>
                  </a:lnTo>
                  <a:lnTo>
                    <a:pt x="474" y="650"/>
                  </a:lnTo>
                  <a:lnTo>
                    <a:pt x="474" y="633"/>
                  </a:lnTo>
                  <a:lnTo>
                    <a:pt x="492" y="597"/>
                  </a:lnTo>
                  <a:lnTo>
                    <a:pt x="527" y="545"/>
                  </a:lnTo>
                  <a:lnTo>
                    <a:pt x="562" y="492"/>
                  </a:lnTo>
                  <a:lnTo>
                    <a:pt x="562" y="475"/>
                  </a:lnTo>
                  <a:lnTo>
                    <a:pt x="544" y="475"/>
                  </a:lnTo>
                  <a:lnTo>
                    <a:pt x="509" y="475"/>
                  </a:lnTo>
                  <a:lnTo>
                    <a:pt x="509" y="422"/>
                  </a:lnTo>
                  <a:lnTo>
                    <a:pt x="527" y="422"/>
                  </a:lnTo>
                  <a:lnTo>
                    <a:pt x="562" y="404"/>
                  </a:lnTo>
                  <a:lnTo>
                    <a:pt x="580" y="334"/>
                  </a:lnTo>
                  <a:lnTo>
                    <a:pt x="562" y="281"/>
                  </a:lnTo>
                  <a:lnTo>
                    <a:pt x="544" y="229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02"/>
            <p:cNvSpPr>
              <a:spLocks/>
            </p:cNvSpPr>
            <p:nvPr/>
          </p:nvSpPr>
          <p:spPr bwMode="auto">
            <a:xfrm>
              <a:off x="1871238" y="3126079"/>
              <a:ext cx="159436" cy="213416"/>
            </a:xfrm>
            <a:custGeom>
              <a:avLst/>
              <a:gdLst>
                <a:gd name="T0" fmla="*/ 228 w 263"/>
                <a:gd name="T1" fmla="*/ 0 h 352"/>
                <a:gd name="T2" fmla="*/ 228 w 263"/>
                <a:gd name="T3" fmla="*/ 0 h 352"/>
                <a:gd name="T4" fmla="*/ 193 w 263"/>
                <a:gd name="T5" fmla="*/ 18 h 352"/>
                <a:gd name="T6" fmla="*/ 193 w 263"/>
                <a:gd name="T7" fmla="*/ 18 h 352"/>
                <a:gd name="T8" fmla="*/ 175 w 263"/>
                <a:gd name="T9" fmla="*/ 18 h 352"/>
                <a:gd name="T10" fmla="*/ 175 w 263"/>
                <a:gd name="T11" fmla="*/ 0 h 352"/>
                <a:gd name="T12" fmla="*/ 175 w 263"/>
                <a:gd name="T13" fmla="*/ 0 h 352"/>
                <a:gd name="T14" fmla="*/ 105 w 263"/>
                <a:gd name="T15" fmla="*/ 18 h 352"/>
                <a:gd name="T16" fmla="*/ 105 w 263"/>
                <a:gd name="T17" fmla="*/ 18 h 352"/>
                <a:gd name="T18" fmla="*/ 105 w 263"/>
                <a:gd name="T19" fmla="*/ 53 h 352"/>
                <a:gd name="T20" fmla="*/ 105 w 263"/>
                <a:gd name="T21" fmla="*/ 106 h 352"/>
                <a:gd name="T22" fmla="*/ 105 w 263"/>
                <a:gd name="T23" fmla="*/ 106 h 352"/>
                <a:gd name="T24" fmla="*/ 35 w 263"/>
                <a:gd name="T25" fmla="*/ 193 h 352"/>
                <a:gd name="T26" fmla="*/ 17 w 263"/>
                <a:gd name="T27" fmla="*/ 229 h 352"/>
                <a:gd name="T28" fmla="*/ 0 w 263"/>
                <a:gd name="T29" fmla="*/ 299 h 352"/>
                <a:gd name="T30" fmla="*/ 0 w 263"/>
                <a:gd name="T31" fmla="*/ 299 h 352"/>
                <a:gd name="T32" fmla="*/ 70 w 263"/>
                <a:gd name="T33" fmla="*/ 334 h 352"/>
                <a:gd name="T34" fmla="*/ 122 w 263"/>
                <a:gd name="T35" fmla="*/ 352 h 352"/>
                <a:gd name="T36" fmla="*/ 122 w 263"/>
                <a:gd name="T37" fmla="*/ 352 h 352"/>
                <a:gd name="T38" fmla="*/ 158 w 263"/>
                <a:gd name="T39" fmla="*/ 352 h 352"/>
                <a:gd name="T40" fmla="*/ 158 w 263"/>
                <a:gd name="T41" fmla="*/ 352 h 352"/>
                <a:gd name="T42" fmla="*/ 158 w 263"/>
                <a:gd name="T43" fmla="*/ 352 h 352"/>
                <a:gd name="T44" fmla="*/ 158 w 263"/>
                <a:gd name="T45" fmla="*/ 334 h 352"/>
                <a:gd name="T46" fmla="*/ 175 w 263"/>
                <a:gd name="T47" fmla="*/ 334 h 352"/>
                <a:gd name="T48" fmla="*/ 210 w 263"/>
                <a:gd name="T49" fmla="*/ 316 h 352"/>
                <a:gd name="T50" fmla="*/ 210 w 263"/>
                <a:gd name="T51" fmla="*/ 316 h 352"/>
                <a:gd name="T52" fmla="*/ 245 w 263"/>
                <a:gd name="T53" fmla="*/ 264 h 352"/>
                <a:gd name="T54" fmla="*/ 263 w 263"/>
                <a:gd name="T55" fmla="*/ 193 h 352"/>
                <a:gd name="T56" fmla="*/ 263 w 263"/>
                <a:gd name="T57" fmla="*/ 193 h 352"/>
                <a:gd name="T58" fmla="*/ 245 w 263"/>
                <a:gd name="T59" fmla="*/ 106 h 352"/>
                <a:gd name="T60" fmla="*/ 245 w 263"/>
                <a:gd name="T61" fmla="*/ 106 h 352"/>
                <a:gd name="T62" fmla="*/ 263 w 263"/>
                <a:gd name="T63" fmla="*/ 35 h 352"/>
                <a:gd name="T64" fmla="*/ 263 w 263"/>
                <a:gd name="T65" fmla="*/ 35 h 352"/>
                <a:gd name="T66" fmla="*/ 263 w 263"/>
                <a:gd name="T67" fmla="*/ 0 h 352"/>
                <a:gd name="T68" fmla="*/ 263 w 263"/>
                <a:gd name="T69" fmla="*/ 0 h 352"/>
                <a:gd name="T70" fmla="*/ 228 w 263"/>
                <a:gd name="T71" fmla="*/ 0 h 352"/>
                <a:gd name="T72" fmla="*/ 228 w 263"/>
                <a:gd name="T73" fmla="*/ 0 h 352"/>
                <a:gd name="T74" fmla="*/ 228 w 263"/>
                <a:gd name="T75" fmla="*/ 0 h 35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63"/>
                <a:gd name="T115" fmla="*/ 0 h 352"/>
                <a:gd name="T116" fmla="*/ 263 w 263"/>
                <a:gd name="T117" fmla="*/ 352 h 35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63" h="352">
                  <a:moveTo>
                    <a:pt x="228" y="0"/>
                  </a:moveTo>
                  <a:lnTo>
                    <a:pt x="228" y="0"/>
                  </a:lnTo>
                  <a:lnTo>
                    <a:pt x="193" y="18"/>
                  </a:lnTo>
                  <a:lnTo>
                    <a:pt x="175" y="18"/>
                  </a:lnTo>
                  <a:lnTo>
                    <a:pt x="175" y="0"/>
                  </a:lnTo>
                  <a:lnTo>
                    <a:pt x="105" y="18"/>
                  </a:lnTo>
                  <a:lnTo>
                    <a:pt x="105" y="53"/>
                  </a:lnTo>
                  <a:lnTo>
                    <a:pt x="105" y="106"/>
                  </a:lnTo>
                  <a:lnTo>
                    <a:pt x="35" y="193"/>
                  </a:lnTo>
                  <a:lnTo>
                    <a:pt x="17" y="229"/>
                  </a:lnTo>
                  <a:lnTo>
                    <a:pt x="0" y="299"/>
                  </a:lnTo>
                  <a:lnTo>
                    <a:pt x="70" y="334"/>
                  </a:lnTo>
                  <a:lnTo>
                    <a:pt x="122" y="352"/>
                  </a:lnTo>
                  <a:lnTo>
                    <a:pt x="158" y="352"/>
                  </a:lnTo>
                  <a:lnTo>
                    <a:pt x="158" y="334"/>
                  </a:lnTo>
                  <a:lnTo>
                    <a:pt x="175" y="334"/>
                  </a:lnTo>
                  <a:lnTo>
                    <a:pt x="210" y="316"/>
                  </a:lnTo>
                  <a:lnTo>
                    <a:pt x="245" y="264"/>
                  </a:lnTo>
                  <a:lnTo>
                    <a:pt x="263" y="193"/>
                  </a:lnTo>
                  <a:lnTo>
                    <a:pt x="245" y="106"/>
                  </a:lnTo>
                  <a:lnTo>
                    <a:pt x="263" y="35"/>
                  </a:lnTo>
                  <a:lnTo>
                    <a:pt x="263" y="0"/>
                  </a:lnTo>
                  <a:lnTo>
                    <a:pt x="228" y="0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03"/>
            <p:cNvSpPr>
              <a:spLocks/>
            </p:cNvSpPr>
            <p:nvPr/>
          </p:nvSpPr>
          <p:spPr bwMode="auto">
            <a:xfrm>
              <a:off x="2147675" y="3200653"/>
              <a:ext cx="149130" cy="234636"/>
            </a:xfrm>
            <a:custGeom>
              <a:avLst/>
              <a:gdLst>
                <a:gd name="T0" fmla="*/ 141 w 246"/>
                <a:gd name="T1" fmla="*/ 264 h 387"/>
                <a:gd name="T2" fmla="*/ 176 w 246"/>
                <a:gd name="T3" fmla="*/ 211 h 387"/>
                <a:gd name="T4" fmla="*/ 194 w 246"/>
                <a:gd name="T5" fmla="*/ 176 h 387"/>
                <a:gd name="T6" fmla="*/ 246 w 246"/>
                <a:gd name="T7" fmla="*/ 123 h 387"/>
                <a:gd name="T8" fmla="*/ 246 w 246"/>
                <a:gd name="T9" fmla="*/ 88 h 387"/>
                <a:gd name="T10" fmla="*/ 229 w 246"/>
                <a:gd name="T11" fmla="*/ 18 h 387"/>
                <a:gd name="T12" fmla="*/ 211 w 246"/>
                <a:gd name="T13" fmla="*/ 0 h 387"/>
                <a:gd name="T14" fmla="*/ 176 w 246"/>
                <a:gd name="T15" fmla="*/ 35 h 387"/>
                <a:gd name="T16" fmla="*/ 194 w 246"/>
                <a:gd name="T17" fmla="*/ 70 h 387"/>
                <a:gd name="T18" fmla="*/ 211 w 246"/>
                <a:gd name="T19" fmla="*/ 106 h 387"/>
                <a:gd name="T20" fmla="*/ 176 w 246"/>
                <a:gd name="T21" fmla="*/ 141 h 387"/>
                <a:gd name="T22" fmla="*/ 158 w 246"/>
                <a:gd name="T23" fmla="*/ 141 h 387"/>
                <a:gd name="T24" fmla="*/ 158 w 246"/>
                <a:gd name="T25" fmla="*/ 123 h 387"/>
                <a:gd name="T26" fmla="*/ 123 w 246"/>
                <a:gd name="T27" fmla="*/ 123 h 387"/>
                <a:gd name="T28" fmla="*/ 141 w 246"/>
                <a:gd name="T29" fmla="*/ 70 h 387"/>
                <a:gd name="T30" fmla="*/ 141 w 246"/>
                <a:gd name="T31" fmla="*/ 53 h 387"/>
                <a:gd name="T32" fmla="*/ 141 w 246"/>
                <a:gd name="T33" fmla="*/ 53 h 387"/>
                <a:gd name="T34" fmla="*/ 106 w 246"/>
                <a:gd name="T35" fmla="*/ 106 h 387"/>
                <a:gd name="T36" fmla="*/ 106 w 246"/>
                <a:gd name="T37" fmla="*/ 70 h 387"/>
                <a:gd name="T38" fmla="*/ 106 w 246"/>
                <a:gd name="T39" fmla="*/ 70 h 387"/>
                <a:gd name="T40" fmla="*/ 106 w 246"/>
                <a:gd name="T41" fmla="*/ 18 h 387"/>
                <a:gd name="T42" fmla="*/ 88 w 246"/>
                <a:gd name="T43" fmla="*/ 70 h 387"/>
                <a:gd name="T44" fmla="*/ 71 w 246"/>
                <a:gd name="T45" fmla="*/ 141 h 387"/>
                <a:gd name="T46" fmla="*/ 53 w 246"/>
                <a:gd name="T47" fmla="*/ 123 h 387"/>
                <a:gd name="T48" fmla="*/ 35 w 246"/>
                <a:gd name="T49" fmla="*/ 158 h 387"/>
                <a:gd name="T50" fmla="*/ 53 w 246"/>
                <a:gd name="T51" fmla="*/ 264 h 387"/>
                <a:gd name="T52" fmla="*/ 35 w 246"/>
                <a:gd name="T53" fmla="*/ 299 h 387"/>
                <a:gd name="T54" fmla="*/ 0 w 246"/>
                <a:gd name="T55" fmla="*/ 334 h 387"/>
                <a:gd name="T56" fmla="*/ 0 w 246"/>
                <a:gd name="T57" fmla="*/ 351 h 387"/>
                <a:gd name="T58" fmla="*/ 18 w 246"/>
                <a:gd name="T59" fmla="*/ 387 h 387"/>
                <a:gd name="T60" fmla="*/ 71 w 246"/>
                <a:gd name="T61" fmla="*/ 387 h 387"/>
                <a:gd name="T62" fmla="*/ 106 w 246"/>
                <a:gd name="T63" fmla="*/ 369 h 387"/>
                <a:gd name="T64" fmla="*/ 123 w 246"/>
                <a:gd name="T65" fmla="*/ 281 h 387"/>
                <a:gd name="T66" fmla="*/ 141 w 246"/>
                <a:gd name="T67" fmla="*/ 264 h 387"/>
                <a:gd name="T68" fmla="*/ 141 w 246"/>
                <a:gd name="T69" fmla="*/ 264 h 38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46"/>
                <a:gd name="T106" fmla="*/ 0 h 387"/>
                <a:gd name="T107" fmla="*/ 246 w 246"/>
                <a:gd name="T108" fmla="*/ 387 h 38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46" h="387">
                  <a:moveTo>
                    <a:pt x="141" y="264"/>
                  </a:moveTo>
                  <a:lnTo>
                    <a:pt x="141" y="264"/>
                  </a:lnTo>
                  <a:lnTo>
                    <a:pt x="158" y="229"/>
                  </a:lnTo>
                  <a:lnTo>
                    <a:pt x="176" y="211"/>
                  </a:lnTo>
                  <a:lnTo>
                    <a:pt x="194" y="176"/>
                  </a:lnTo>
                  <a:lnTo>
                    <a:pt x="211" y="158"/>
                  </a:lnTo>
                  <a:lnTo>
                    <a:pt x="246" y="123"/>
                  </a:lnTo>
                  <a:lnTo>
                    <a:pt x="246" y="88"/>
                  </a:lnTo>
                  <a:lnTo>
                    <a:pt x="246" y="35"/>
                  </a:lnTo>
                  <a:lnTo>
                    <a:pt x="229" y="18"/>
                  </a:lnTo>
                  <a:lnTo>
                    <a:pt x="211" y="0"/>
                  </a:lnTo>
                  <a:lnTo>
                    <a:pt x="194" y="18"/>
                  </a:lnTo>
                  <a:lnTo>
                    <a:pt x="176" y="35"/>
                  </a:lnTo>
                  <a:lnTo>
                    <a:pt x="194" y="70"/>
                  </a:lnTo>
                  <a:lnTo>
                    <a:pt x="211" y="106"/>
                  </a:lnTo>
                  <a:lnTo>
                    <a:pt x="194" y="141"/>
                  </a:lnTo>
                  <a:lnTo>
                    <a:pt x="176" y="141"/>
                  </a:lnTo>
                  <a:lnTo>
                    <a:pt x="158" y="141"/>
                  </a:lnTo>
                  <a:lnTo>
                    <a:pt x="158" y="123"/>
                  </a:lnTo>
                  <a:lnTo>
                    <a:pt x="141" y="141"/>
                  </a:lnTo>
                  <a:lnTo>
                    <a:pt x="123" y="123"/>
                  </a:lnTo>
                  <a:lnTo>
                    <a:pt x="141" y="70"/>
                  </a:lnTo>
                  <a:lnTo>
                    <a:pt x="141" y="53"/>
                  </a:lnTo>
                  <a:lnTo>
                    <a:pt x="123" y="70"/>
                  </a:lnTo>
                  <a:lnTo>
                    <a:pt x="106" y="106"/>
                  </a:lnTo>
                  <a:lnTo>
                    <a:pt x="106" y="70"/>
                  </a:lnTo>
                  <a:lnTo>
                    <a:pt x="106" y="53"/>
                  </a:lnTo>
                  <a:lnTo>
                    <a:pt x="106" y="18"/>
                  </a:lnTo>
                  <a:lnTo>
                    <a:pt x="88" y="70"/>
                  </a:lnTo>
                  <a:lnTo>
                    <a:pt x="71" y="141"/>
                  </a:lnTo>
                  <a:lnTo>
                    <a:pt x="53" y="141"/>
                  </a:lnTo>
                  <a:lnTo>
                    <a:pt x="53" y="123"/>
                  </a:lnTo>
                  <a:lnTo>
                    <a:pt x="35" y="158"/>
                  </a:lnTo>
                  <a:lnTo>
                    <a:pt x="53" y="264"/>
                  </a:lnTo>
                  <a:lnTo>
                    <a:pt x="35" y="299"/>
                  </a:lnTo>
                  <a:lnTo>
                    <a:pt x="18" y="316"/>
                  </a:lnTo>
                  <a:lnTo>
                    <a:pt x="0" y="334"/>
                  </a:lnTo>
                  <a:lnTo>
                    <a:pt x="0" y="351"/>
                  </a:lnTo>
                  <a:lnTo>
                    <a:pt x="0" y="369"/>
                  </a:lnTo>
                  <a:lnTo>
                    <a:pt x="18" y="387"/>
                  </a:lnTo>
                  <a:lnTo>
                    <a:pt x="71" y="387"/>
                  </a:lnTo>
                  <a:lnTo>
                    <a:pt x="88" y="387"/>
                  </a:lnTo>
                  <a:lnTo>
                    <a:pt x="106" y="369"/>
                  </a:lnTo>
                  <a:lnTo>
                    <a:pt x="123" y="316"/>
                  </a:lnTo>
                  <a:lnTo>
                    <a:pt x="123" y="281"/>
                  </a:lnTo>
                  <a:lnTo>
                    <a:pt x="141" y="264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24" name="Freeform 104"/>
            <p:cNvSpPr>
              <a:spLocks/>
            </p:cNvSpPr>
            <p:nvPr/>
          </p:nvSpPr>
          <p:spPr bwMode="auto">
            <a:xfrm>
              <a:off x="965545" y="3104858"/>
              <a:ext cx="64259" cy="42441"/>
            </a:xfrm>
            <a:custGeom>
              <a:avLst/>
              <a:gdLst>
                <a:gd name="T0" fmla="*/ 71 w 106"/>
                <a:gd name="T1" fmla="*/ 0 h 70"/>
                <a:gd name="T2" fmla="*/ 71 w 106"/>
                <a:gd name="T3" fmla="*/ 0 h 70"/>
                <a:gd name="T4" fmla="*/ 18 w 106"/>
                <a:gd name="T5" fmla="*/ 0 h 70"/>
                <a:gd name="T6" fmla="*/ 0 w 106"/>
                <a:gd name="T7" fmla="*/ 0 h 70"/>
                <a:gd name="T8" fmla="*/ 0 w 106"/>
                <a:gd name="T9" fmla="*/ 0 h 70"/>
                <a:gd name="T10" fmla="*/ 0 w 106"/>
                <a:gd name="T11" fmla="*/ 53 h 70"/>
                <a:gd name="T12" fmla="*/ 18 w 106"/>
                <a:gd name="T13" fmla="*/ 70 h 70"/>
                <a:gd name="T14" fmla="*/ 35 w 106"/>
                <a:gd name="T15" fmla="*/ 70 h 70"/>
                <a:gd name="T16" fmla="*/ 35 w 106"/>
                <a:gd name="T17" fmla="*/ 70 h 70"/>
                <a:gd name="T18" fmla="*/ 71 w 106"/>
                <a:gd name="T19" fmla="*/ 53 h 70"/>
                <a:gd name="T20" fmla="*/ 106 w 106"/>
                <a:gd name="T21" fmla="*/ 0 h 70"/>
                <a:gd name="T22" fmla="*/ 106 w 106"/>
                <a:gd name="T23" fmla="*/ 0 h 70"/>
                <a:gd name="T24" fmla="*/ 71 w 106"/>
                <a:gd name="T25" fmla="*/ 0 h 70"/>
                <a:gd name="T26" fmla="*/ 71 w 106"/>
                <a:gd name="T27" fmla="*/ 0 h 70"/>
                <a:gd name="T28" fmla="*/ 71 w 106"/>
                <a:gd name="T29" fmla="*/ 0 h 7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06"/>
                <a:gd name="T46" fmla="*/ 0 h 70"/>
                <a:gd name="T47" fmla="*/ 106 w 106"/>
                <a:gd name="T48" fmla="*/ 70 h 7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06" h="70">
                  <a:moveTo>
                    <a:pt x="71" y="0"/>
                  </a:moveTo>
                  <a:lnTo>
                    <a:pt x="71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53"/>
                  </a:lnTo>
                  <a:lnTo>
                    <a:pt x="18" y="70"/>
                  </a:lnTo>
                  <a:lnTo>
                    <a:pt x="35" y="70"/>
                  </a:lnTo>
                  <a:lnTo>
                    <a:pt x="71" y="53"/>
                  </a:lnTo>
                  <a:lnTo>
                    <a:pt x="106" y="0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6350">
              <a:solidFill>
                <a:schemeClr val="accent1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</a:endParaRPr>
            </a:p>
          </p:txBody>
        </p:sp>
      </p:grpSp>
      <p:sp>
        <p:nvSpPr>
          <p:cNvPr id="25" name="Прямоугольник 24"/>
          <p:cNvSpPr/>
          <p:nvPr/>
        </p:nvSpPr>
        <p:spPr>
          <a:xfrm>
            <a:off x="295274" y="4423242"/>
            <a:ext cx="461962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61950" algn="just">
              <a:spcBef>
                <a:spcPts val="600"/>
              </a:spcBef>
              <a:defRPr/>
            </a:pPr>
            <a:r>
              <a:rPr lang="ru-RU" sz="1200" dirty="0">
                <a:solidFill>
                  <a:srgbClr val="003366"/>
                </a:solidFill>
                <a:latin typeface="Arial" charset="0"/>
              </a:rPr>
              <a:t>«Газпром нефть» осуществляет поставки битумов по всей территории России, а также в страны ближнего зарубежья (Киргизия, Казахстан и Таджикистан) и дальнего зарубежья (Восточная Европа, Монголия, Китай и др.)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37133" y="2085969"/>
            <a:ext cx="3452864" cy="411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5"/>
          <p:cNvSpPr>
            <a:spLocks noChangeArrowheads="1"/>
          </p:cNvSpPr>
          <p:nvPr/>
        </p:nvSpPr>
        <p:spPr bwMode="auto">
          <a:xfrm>
            <a:off x="0" y="0"/>
            <a:ext cx="7740352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/>
          <a:lstStyle/>
          <a:p>
            <a:pPr>
              <a:spcBef>
                <a:spcPts val="0"/>
              </a:spcBef>
            </a:pPr>
            <a:r>
              <a:rPr lang="ru-RU" dirty="0">
                <a:solidFill>
                  <a:srgbClr val="0066CC"/>
                </a:solidFill>
              </a:rPr>
              <a:t>Развитие инвестиционной программы битумного производства</a:t>
            </a:r>
          </a:p>
        </p:txBody>
      </p:sp>
      <p:sp>
        <p:nvSpPr>
          <p:cNvPr id="6150" name="Номер слайда 1"/>
          <p:cNvSpPr txBox="1">
            <a:spLocks noGrp="1"/>
          </p:cNvSpPr>
          <p:nvPr/>
        </p:nvSpPr>
        <p:spPr bwMode="auto">
          <a:xfrm>
            <a:off x="8442325" y="6524625"/>
            <a:ext cx="5937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r>
              <a:rPr lang="ru-RU" sz="900" dirty="0">
                <a:solidFill>
                  <a:srgbClr val="FFFFFF"/>
                </a:solidFill>
              </a:rPr>
              <a:t>стр. </a:t>
            </a:r>
            <a:fld id="{1182C7D6-0C58-459D-A3D2-AE216519F860}" type="slidenum">
              <a:rPr lang="ru-RU" sz="900">
                <a:solidFill>
                  <a:srgbClr val="FFFFFF"/>
                </a:solidFill>
              </a:rPr>
              <a:pPr/>
              <a:t>3</a:t>
            </a:fld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7" name="AutoShape 5"/>
          <p:cNvSpPr>
            <a:spLocks noChangeAspect="1" noChangeArrowheads="1" noTextEdit="1"/>
          </p:cNvSpPr>
          <p:nvPr/>
        </p:nvSpPr>
        <p:spPr bwMode="auto">
          <a:xfrm>
            <a:off x="107950" y="1106488"/>
            <a:ext cx="4183063" cy="250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400"/>
          </a:p>
        </p:txBody>
      </p:sp>
      <p:sp>
        <p:nvSpPr>
          <p:cNvPr id="41" name="Rectangle 55"/>
          <p:cNvSpPr>
            <a:spLocks noChangeArrowheads="1"/>
          </p:cNvSpPr>
          <p:nvPr/>
        </p:nvSpPr>
        <p:spPr bwMode="auto">
          <a:xfrm>
            <a:off x="107950" y="4735127"/>
            <a:ext cx="5157152" cy="1481163"/>
          </a:xfrm>
          <a:prstGeom prst="rect">
            <a:avLst/>
          </a:prstGeom>
          <a:solidFill>
            <a:srgbClr val="0083E6">
              <a:alpha val="9000"/>
            </a:srgbClr>
          </a:soli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>
              <a:spcBef>
                <a:spcPts val="300"/>
              </a:spcBef>
            </a:pPr>
            <a:r>
              <a:rPr lang="ru-RU" sz="1200" dirty="0">
                <a:solidFill>
                  <a:srgbClr val="4D4D4D"/>
                </a:solidFill>
              </a:rPr>
              <a:t>СЛАВНЕФТЬ-ЯРОСЛАВНЕФТЕОРГСИНТЕЗ  (ЯНОС) </a:t>
            </a:r>
          </a:p>
          <a:p>
            <a:pPr>
              <a:spcBef>
                <a:spcPts val="300"/>
              </a:spcBef>
            </a:pPr>
            <a:r>
              <a:rPr lang="ru-RU" sz="1200" kern="0" dirty="0">
                <a:solidFill>
                  <a:srgbClr val="007AC2"/>
                </a:solidFill>
                <a:cs typeface="Arial" pitchFamily="34" charset="0"/>
              </a:rPr>
              <a:t>Реализованные проекты:</a:t>
            </a:r>
          </a:p>
          <a:p>
            <a:pPr marL="171450" indent="-171450">
              <a:spcBef>
                <a:spcPts val="300"/>
              </a:spcBef>
              <a:buFont typeface="Wingdings" pitchFamily="2" charset="2"/>
              <a:buChar char="§"/>
            </a:pPr>
            <a:r>
              <a:rPr lang="ru-RU" sz="1200" b="0" kern="0" dirty="0">
                <a:cs typeface="Arial" pitchFamily="34" charset="0"/>
              </a:rPr>
              <a:t>Линия по затариванию дорожного битума в Кловертейнеры</a:t>
            </a:r>
          </a:p>
          <a:p>
            <a:pPr>
              <a:spcBef>
                <a:spcPts val="300"/>
              </a:spcBef>
            </a:pPr>
            <a:r>
              <a:rPr lang="ru-RU" sz="1200" kern="0" dirty="0">
                <a:solidFill>
                  <a:srgbClr val="007AC2"/>
                </a:solidFill>
                <a:cs typeface="Arial" pitchFamily="34" charset="0"/>
              </a:rPr>
              <a:t>Новые проекты:</a:t>
            </a:r>
          </a:p>
          <a:p>
            <a:pPr marL="171450" indent="-171450">
              <a:spcBef>
                <a:spcPts val="0"/>
              </a:spcBef>
              <a:buFont typeface="Wingdings" pitchFamily="2" charset="2"/>
              <a:buChar char="§"/>
            </a:pPr>
            <a:r>
              <a:rPr lang="ru-RU" sz="1200" b="0" kern="0" dirty="0">
                <a:cs typeface="Arial" pitchFamily="34" charset="0"/>
              </a:rPr>
              <a:t>Система подготовки сырья</a:t>
            </a:r>
            <a:endParaRPr lang="en-US" sz="1200" b="0" kern="0" dirty="0">
              <a:cs typeface="Arial" pitchFamily="34" charset="0"/>
            </a:endParaRPr>
          </a:p>
          <a:p>
            <a:pPr marL="171450" indent="-171450">
              <a:spcBef>
                <a:spcPts val="0"/>
              </a:spcBef>
              <a:buFont typeface="Wingdings" pitchFamily="2" charset="2"/>
              <a:buChar char="§"/>
            </a:pPr>
            <a:r>
              <a:rPr lang="ru-RU" sz="1200" b="0" kern="0" dirty="0">
                <a:cs typeface="Arial" pitchFamily="34" charset="0"/>
              </a:rPr>
              <a:t>Модернизация технологической инфраструктуры</a:t>
            </a:r>
            <a:endParaRPr lang="en-US" sz="1200" b="0" kern="0" dirty="0">
              <a:cs typeface="Arial" pitchFamily="34" charset="0"/>
            </a:endParaRPr>
          </a:p>
        </p:txBody>
      </p:sp>
      <p:sp>
        <p:nvSpPr>
          <p:cNvPr id="43" name="Rectangle 55"/>
          <p:cNvSpPr>
            <a:spLocks noChangeArrowheads="1"/>
          </p:cNvSpPr>
          <p:nvPr/>
        </p:nvSpPr>
        <p:spPr bwMode="auto">
          <a:xfrm>
            <a:off x="107950" y="874026"/>
            <a:ext cx="5157152" cy="1193131"/>
          </a:xfrm>
          <a:prstGeom prst="rect">
            <a:avLst/>
          </a:prstGeom>
          <a:solidFill>
            <a:srgbClr val="0083E6">
              <a:alpha val="9000"/>
            </a:srgbClr>
          </a:soli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>
              <a:spcBef>
                <a:spcPts val="600"/>
              </a:spcBef>
            </a:pPr>
            <a:r>
              <a:rPr lang="ru-RU" sz="1200" dirty="0">
                <a:solidFill>
                  <a:srgbClr val="4D4D4D"/>
                </a:solidFill>
              </a:rPr>
              <a:t>МОСКОВСКИЙ НПЗ</a:t>
            </a:r>
          </a:p>
          <a:p>
            <a:pPr>
              <a:spcBef>
                <a:spcPts val="300"/>
              </a:spcBef>
            </a:pPr>
            <a:r>
              <a:rPr lang="ru-RU" sz="1200" kern="0" dirty="0">
                <a:solidFill>
                  <a:srgbClr val="007AC2"/>
                </a:solidFill>
                <a:cs typeface="Arial" pitchFamily="34" charset="0"/>
              </a:rPr>
              <a:t>Реализуемые проекты:</a:t>
            </a:r>
          </a:p>
          <a:p>
            <a:pPr marL="171450" indent="-171450">
              <a:spcBef>
                <a:spcPts val="300"/>
              </a:spcBef>
              <a:buFont typeface="Wingdings" pitchFamily="2" charset="2"/>
              <a:buChar char="§"/>
            </a:pPr>
            <a:r>
              <a:rPr lang="ru-RU" sz="1200" b="0" kern="0" dirty="0">
                <a:cs typeface="Arial" pitchFamily="34" charset="0"/>
              </a:rPr>
              <a:t>Реконструкция установки производства битумов</a:t>
            </a:r>
          </a:p>
          <a:p>
            <a:pPr>
              <a:spcBef>
                <a:spcPts val="300"/>
              </a:spcBef>
            </a:pPr>
            <a:r>
              <a:rPr lang="ru-RU" sz="1200" kern="0" dirty="0">
                <a:solidFill>
                  <a:srgbClr val="007AC2"/>
                </a:solidFill>
                <a:cs typeface="Arial" pitchFamily="34" charset="0"/>
              </a:rPr>
              <a:t>Новые проекты:</a:t>
            </a:r>
          </a:p>
          <a:p>
            <a:pPr marL="171450" indent="-171450">
              <a:spcBef>
                <a:spcPts val="300"/>
              </a:spcBef>
              <a:buFont typeface="Wingdings" pitchFamily="2" charset="2"/>
              <a:buChar char="§"/>
            </a:pPr>
            <a:r>
              <a:rPr lang="ru-RU" sz="1200" b="0" kern="0" dirty="0">
                <a:cs typeface="Arial" pitchFamily="34" charset="0"/>
              </a:rPr>
              <a:t>Строительство установки по производству ПБВ</a:t>
            </a:r>
            <a:endParaRPr lang="en-US" sz="1200" b="0" kern="0" dirty="0">
              <a:cs typeface="Arial" pitchFamily="34" charset="0"/>
            </a:endParaRPr>
          </a:p>
        </p:txBody>
      </p:sp>
      <p:sp>
        <p:nvSpPr>
          <p:cNvPr id="44" name="Rectangle 55"/>
          <p:cNvSpPr>
            <a:spLocks noChangeArrowheads="1"/>
          </p:cNvSpPr>
          <p:nvPr/>
        </p:nvSpPr>
        <p:spPr bwMode="auto">
          <a:xfrm>
            <a:off x="91015" y="2170171"/>
            <a:ext cx="5174087" cy="2474994"/>
          </a:xfrm>
          <a:prstGeom prst="rect">
            <a:avLst/>
          </a:prstGeom>
          <a:solidFill>
            <a:srgbClr val="0083E6">
              <a:alpha val="9000"/>
            </a:srgbClr>
          </a:soli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>
              <a:spcBef>
                <a:spcPts val="600"/>
              </a:spcBef>
            </a:pPr>
            <a:r>
              <a:rPr lang="ru-RU" sz="1200" dirty="0">
                <a:solidFill>
                  <a:srgbClr val="4D4D4D"/>
                </a:solidFill>
              </a:rPr>
              <a:t>ОМСКИЙ НПЗ</a:t>
            </a:r>
          </a:p>
          <a:p>
            <a:pPr>
              <a:spcBef>
                <a:spcPts val="600"/>
              </a:spcBef>
            </a:pPr>
            <a:r>
              <a:rPr lang="ru-RU" sz="1200" kern="0" dirty="0">
                <a:solidFill>
                  <a:srgbClr val="007AC2"/>
                </a:solidFill>
                <a:cs typeface="Arial" pitchFamily="34" charset="0"/>
              </a:rPr>
              <a:t>Реализованные проекты:</a:t>
            </a:r>
          </a:p>
          <a:p>
            <a:pPr marL="171450" indent="-171450">
              <a:spcBef>
                <a:spcPts val="0"/>
              </a:spcBef>
              <a:buFont typeface="Wingdings" pitchFamily="2" charset="2"/>
              <a:buChar char="§"/>
            </a:pPr>
            <a:r>
              <a:rPr lang="ru-RU" sz="1200" b="0" kern="0" dirty="0">
                <a:cs typeface="Arial" pitchFamily="34" charset="0"/>
              </a:rPr>
              <a:t>Установка по производству ПБВ и битумных эмульсий</a:t>
            </a:r>
          </a:p>
          <a:p>
            <a:pPr marL="171450" indent="-171450">
              <a:spcBef>
                <a:spcPts val="0"/>
              </a:spcBef>
              <a:buFont typeface="Wingdings" pitchFamily="2" charset="2"/>
              <a:buChar char="§"/>
            </a:pPr>
            <a:r>
              <a:rPr lang="ru-RU" sz="1200" b="0" kern="0" dirty="0">
                <a:cs typeface="Arial" pitchFamily="34" charset="0"/>
              </a:rPr>
              <a:t>Линия по затариванию дорожных битумов и ПБВ в </a:t>
            </a:r>
            <a:r>
              <a:rPr lang="ru-RU" sz="1200" b="0" kern="0" dirty="0" err="1">
                <a:cs typeface="Arial" pitchFamily="34" charset="0"/>
              </a:rPr>
              <a:t>Кловертейнеры</a:t>
            </a:r>
            <a:endParaRPr lang="ru-RU" sz="1200" b="0" kern="0" dirty="0">
              <a:cs typeface="Arial" pitchFamily="34" charset="0"/>
            </a:endParaRPr>
          </a:p>
          <a:p>
            <a:pPr marL="171450" indent="-171450">
              <a:spcBef>
                <a:spcPts val="0"/>
              </a:spcBef>
              <a:buFont typeface="Wingdings" pitchFamily="2" charset="2"/>
              <a:buChar char="§"/>
            </a:pPr>
            <a:r>
              <a:rPr lang="ru-RU" sz="1200" b="0" kern="0" dirty="0">
                <a:cs typeface="Arial" pitchFamily="34" charset="0"/>
              </a:rPr>
              <a:t>Система налива сырья для производства вязких дорожных битумов</a:t>
            </a:r>
          </a:p>
          <a:p>
            <a:pPr>
              <a:spcBef>
                <a:spcPts val="600"/>
              </a:spcBef>
            </a:pPr>
            <a:r>
              <a:rPr lang="ru-RU" sz="1200" kern="0" dirty="0">
                <a:solidFill>
                  <a:srgbClr val="007AC2"/>
                </a:solidFill>
                <a:cs typeface="Arial" pitchFamily="34" charset="0"/>
              </a:rPr>
              <a:t>Новые проекты:</a:t>
            </a:r>
          </a:p>
          <a:p>
            <a:pPr marL="171450" indent="-171450">
              <a:spcBef>
                <a:spcPts val="0"/>
              </a:spcBef>
              <a:buFont typeface="Wingdings" pitchFamily="2" charset="2"/>
              <a:buChar char="§"/>
            </a:pPr>
            <a:r>
              <a:rPr lang="ru-RU" sz="1200" b="0" kern="0" dirty="0">
                <a:cs typeface="Arial" pitchFamily="34" charset="0"/>
              </a:rPr>
              <a:t>Эстакада налива битумов в ж/д цистерны и автотранспорт</a:t>
            </a:r>
          </a:p>
          <a:p>
            <a:pPr marL="171450" indent="-171450">
              <a:spcBef>
                <a:spcPts val="0"/>
              </a:spcBef>
              <a:buFont typeface="Wingdings" pitchFamily="2" charset="2"/>
              <a:buChar char="§"/>
            </a:pPr>
            <a:r>
              <a:rPr lang="ru-RU" sz="1200" b="0" kern="0" dirty="0">
                <a:cs typeface="Arial" pitchFamily="34" charset="0"/>
              </a:rPr>
              <a:t>Модернизация установки по производству битумов</a:t>
            </a:r>
          </a:p>
        </p:txBody>
      </p:sp>
      <p:pic>
        <p:nvPicPr>
          <p:cNvPr id="69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5614" y="3635975"/>
            <a:ext cx="2990950" cy="258031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2" name="Picture 13"/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0368" y="4042968"/>
            <a:ext cx="705511" cy="602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" name="Picture 13"/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9595" y="5688888"/>
            <a:ext cx="705511" cy="602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Номер слайда 1"/>
          <p:cNvSpPr txBox="1">
            <a:spLocks noGrp="1"/>
          </p:cNvSpPr>
          <p:nvPr/>
        </p:nvSpPr>
        <p:spPr bwMode="auto">
          <a:xfrm>
            <a:off x="259292" y="6524625"/>
            <a:ext cx="554513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pPr>
              <a:spcBef>
                <a:spcPct val="0"/>
              </a:spcBef>
            </a:pPr>
            <a:r>
              <a:rPr lang="ru-RU" sz="900" b="0" dirty="0">
                <a:solidFill>
                  <a:schemeClr val="bg1"/>
                </a:solidFill>
              </a:rPr>
              <a:t>Опыт производства ПБВ на  Омском НПЗ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90962" y="1019581"/>
            <a:ext cx="3606484" cy="2301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544834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Номер слайда 1"/>
          <p:cNvSpPr txBox="1">
            <a:spLocks noGrp="1"/>
          </p:cNvSpPr>
          <p:nvPr/>
        </p:nvSpPr>
        <p:spPr bwMode="auto">
          <a:xfrm>
            <a:off x="8442325" y="6524625"/>
            <a:ext cx="5937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r>
              <a:rPr lang="ru-RU" sz="900" dirty="0">
                <a:solidFill>
                  <a:schemeClr val="bg1"/>
                </a:solidFill>
              </a:rPr>
              <a:t>стр. </a:t>
            </a:r>
            <a:fld id="{1C9BA1F0-87E1-4367-BB4D-6D2A1A0C3841}" type="slidenum">
              <a:rPr lang="ru-RU" sz="900">
                <a:solidFill>
                  <a:schemeClr val="bg1"/>
                </a:solidFill>
              </a:rPr>
              <a:pPr/>
              <a:t>4</a:t>
            </a:fld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0" y="0"/>
            <a:ext cx="7597775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/>
          <a:lstStyle/>
          <a:p>
            <a:pPr defTabSz="44926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itchFamily="34" charset="0"/>
              <a:buNone/>
              <a:defRPr/>
            </a:pPr>
            <a:r>
              <a:rPr lang="ru-RU" kern="0" dirty="0">
                <a:solidFill>
                  <a:srgbClr val="0066CC"/>
                </a:solidFill>
                <a:latin typeface="Arial" charset="0"/>
              </a:rPr>
              <a:t>Реализация проекта производства ПБВ и битумных эмульсий на Омском НПЗ в 2010 г.</a:t>
            </a:r>
          </a:p>
        </p:txBody>
      </p:sp>
      <p:sp>
        <p:nvSpPr>
          <p:cNvPr id="15" name="Rectangle 53"/>
          <p:cNvSpPr>
            <a:spLocks noChangeArrowheads="1"/>
          </p:cNvSpPr>
          <p:nvPr/>
        </p:nvSpPr>
        <p:spPr bwMode="auto">
          <a:xfrm>
            <a:off x="276225" y="1084263"/>
            <a:ext cx="5927725" cy="1079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lang="ru-RU" sz="1600" b="0" dirty="0">
                <a:solidFill>
                  <a:schemeClr val="accent1">
                    <a:lumMod val="75000"/>
                  </a:schemeClr>
                </a:solidFill>
              </a:rPr>
              <a:t>Комплексная полностью автоматическая модификационно-эмульсионная установка </a:t>
            </a:r>
            <a:r>
              <a:rPr lang="en-US" sz="1600" b="0" dirty="0">
                <a:solidFill>
                  <a:schemeClr val="accent1">
                    <a:lumMod val="75000"/>
                  </a:schemeClr>
                </a:solidFill>
              </a:rPr>
              <a:t>Massenza</a:t>
            </a:r>
            <a:r>
              <a:rPr lang="ru-RU" sz="1600" b="0" dirty="0">
                <a:solidFill>
                  <a:schemeClr val="accent1">
                    <a:lumMod val="75000"/>
                  </a:schemeClr>
                </a:solidFill>
              </a:rPr>
              <a:t> для производства полимерно-битумных вяжущих (ПБВ) и битумных эмульсий</a:t>
            </a:r>
          </a:p>
          <a:p>
            <a:pPr>
              <a:spcBef>
                <a:spcPct val="0"/>
              </a:spcBef>
              <a:defRPr/>
            </a:pPr>
            <a:endParaRPr lang="ru-RU" sz="1600" b="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6" name="Rectangle 55"/>
          <p:cNvSpPr>
            <a:spLocks noChangeArrowheads="1"/>
          </p:cNvSpPr>
          <p:nvPr/>
        </p:nvSpPr>
        <p:spPr bwMode="auto">
          <a:xfrm>
            <a:off x="334840" y="2352675"/>
            <a:ext cx="5900737" cy="3810000"/>
          </a:xfrm>
          <a:prstGeom prst="rect">
            <a:avLst/>
          </a:prstGeom>
          <a:solidFill>
            <a:schemeClr val="tx2">
              <a:lumMod val="60000"/>
              <a:lumOff val="40000"/>
              <a:alpha val="9019"/>
            </a:schemeClr>
          </a:soli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>
              <a:spcBef>
                <a:spcPts val="600"/>
              </a:spcBef>
            </a:pPr>
            <a:r>
              <a:rPr lang="ru-RU" sz="1200" dirty="0">
                <a:solidFill>
                  <a:srgbClr val="4D4D4D"/>
                </a:solidFill>
              </a:rPr>
              <a:t>ОБОРУДОВАНИЕ</a:t>
            </a:r>
            <a:endParaRPr lang="en-US" sz="1200" dirty="0">
              <a:solidFill>
                <a:srgbClr val="4D4D4D"/>
              </a:solidFill>
            </a:endParaRPr>
          </a:p>
          <a:p>
            <a:pPr>
              <a:spcBef>
                <a:spcPts val="600"/>
              </a:spcBef>
            </a:pPr>
            <a:endParaRPr lang="ru-RU" sz="1200" dirty="0">
              <a:solidFill>
                <a:srgbClr val="4D4D4D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200" kern="0" dirty="0">
                <a:solidFill>
                  <a:srgbClr val="007AC2"/>
                </a:solidFill>
                <a:cs typeface="Arial" pitchFamily="34" charset="0"/>
              </a:rPr>
              <a:t>Комплекс по производству ПБВ:</a:t>
            </a:r>
          </a:p>
          <a:p>
            <a:pPr marL="171450" indent="-171450">
              <a:spcBef>
                <a:spcPts val="0"/>
              </a:spcBef>
              <a:buFont typeface="Wingdings" pitchFamily="2" charset="2"/>
              <a:buChar char="§"/>
            </a:pPr>
            <a:r>
              <a:rPr lang="ru-RU" sz="1200" b="0" kern="0" dirty="0">
                <a:cs typeface="Arial" pitchFamily="34" charset="0"/>
              </a:rPr>
              <a:t>Емкостной парк для хранения и подготовки исходного</a:t>
            </a:r>
          </a:p>
          <a:p>
            <a:pPr>
              <a:spcBef>
                <a:spcPts val="0"/>
              </a:spcBef>
            </a:pPr>
            <a:r>
              <a:rPr lang="ru-RU" sz="1200" b="0" kern="0" dirty="0">
                <a:cs typeface="Arial" pitchFamily="34" charset="0"/>
              </a:rPr>
              <a:t> сырья – битума</a:t>
            </a:r>
            <a:endParaRPr lang="en-US" sz="1200" b="0" kern="0" dirty="0">
              <a:cs typeface="Arial" pitchFamily="34" charset="0"/>
            </a:endParaRPr>
          </a:p>
          <a:p>
            <a:pPr marL="171450" indent="-171450">
              <a:spcBef>
                <a:spcPts val="0"/>
              </a:spcBef>
              <a:buFont typeface="Wingdings" pitchFamily="2" charset="2"/>
              <a:buChar char="§"/>
            </a:pPr>
            <a:r>
              <a:rPr lang="ru-RU" sz="1200" b="0" kern="0" dirty="0">
                <a:cs typeface="Arial" pitchFamily="34" charset="0"/>
              </a:rPr>
              <a:t>Система масляного подогрева емкостей</a:t>
            </a:r>
            <a:endParaRPr lang="en-US" sz="1200" b="0" kern="0" dirty="0">
              <a:cs typeface="Arial" pitchFamily="34" charset="0"/>
            </a:endParaRPr>
          </a:p>
          <a:p>
            <a:pPr marL="171450" indent="-171450">
              <a:spcBef>
                <a:spcPts val="0"/>
              </a:spcBef>
              <a:buFont typeface="Wingdings" pitchFamily="2" charset="2"/>
              <a:buChar char="§"/>
            </a:pPr>
            <a:r>
              <a:rPr lang="ru-RU" sz="1200" b="0" kern="0" dirty="0">
                <a:cs typeface="Arial" pitchFamily="34" charset="0"/>
              </a:rPr>
              <a:t>Маслонагревательная станция</a:t>
            </a:r>
            <a:endParaRPr lang="en-US" sz="1200" b="0" kern="0" dirty="0">
              <a:cs typeface="Arial" pitchFamily="34" charset="0"/>
            </a:endParaRPr>
          </a:p>
          <a:p>
            <a:pPr marL="171450" indent="-171450">
              <a:spcBef>
                <a:spcPts val="0"/>
              </a:spcBef>
              <a:buFont typeface="Wingdings" pitchFamily="2" charset="2"/>
              <a:buChar char="§"/>
            </a:pPr>
            <a:r>
              <a:rPr lang="ru-RU" sz="1200" b="0" kern="0" dirty="0">
                <a:cs typeface="Arial" pitchFamily="34" charset="0"/>
              </a:rPr>
              <a:t>Установка для производства ПБВ</a:t>
            </a:r>
            <a:endParaRPr lang="en-US" sz="1200" b="0" kern="0" dirty="0">
              <a:cs typeface="Arial" pitchFamily="34" charset="0"/>
            </a:endParaRPr>
          </a:p>
          <a:p>
            <a:pPr marL="171450" indent="-171450">
              <a:spcBef>
                <a:spcPts val="0"/>
              </a:spcBef>
              <a:buFont typeface="Wingdings" pitchFamily="2" charset="2"/>
              <a:buChar char="§"/>
            </a:pPr>
            <a:r>
              <a:rPr lang="ru-RU" sz="1200" b="0" kern="0" dirty="0">
                <a:cs typeface="Arial" pitchFamily="34" charset="0"/>
              </a:rPr>
              <a:t>Емкостной парк для хранения готовой продукции</a:t>
            </a:r>
            <a:endParaRPr lang="en-US" sz="1200" b="0" kern="0" dirty="0">
              <a:cs typeface="Arial" pitchFamily="34" charset="0"/>
            </a:endParaRPr>
          </a:p>
          <a:p>
            <a:pPr>
              <a:spcBef>
                <a:spcPts val="0"/>
              </a:spcBef>
            </a:pPr>
            <a:endParaRPr lang="ru-RU" sz="1200" b="0" kern="0" dirty="0">
              <a:cs typeface="Arial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200" kern="0" dirty="0">
                <a:solidFill>
                  <a:srgbClr val="007AC2"/>
                </a:solidFill>
                <a:cs typeface="Arial" pitchFamily="34" charset="0"/>
              </a:rPr>
              <a:t>Комплекс по производству битумных эмульсий:</a:t>
            </a:r>
          </a:p>
          <a:p>
            <a:pPr marL="171450" indent="-171450">
              <a:spcBef>
                <a:spcPts val="0"/>
              </a:spcBef>
              <a:buFont typeface="Wingdings" pitchFamily="2" charset="2"/>
              <a:buChar char="§"/>
            </a:pPr>
            <a:r>
              <a:rPr lang="ru-RU" sz="1200" b="0" kern="0" dirty="0">
                <a:cs typeface="Arial" pitchFamily="34" charset="0"/>
              </a:rPr>
              <a:t>Емкости для хранения кислоты и воды</a:t>
            </a:r>
            <a:endParaRPr lang="en-US" sz="1200" b="0" kern="0" dirty="0">
              <a:cs typeface="Arial" pitchFamily="34" charset="0"/>
            </a:endParaRPr>
          </a:p>
          <a:p>
            <a:pPr marL="171450" indent="-171450">
              <a:spcBef>
                <a:spcPts val="0"/>
              </a:spcBef>
              <a:buFont typeface="Wingdings" pitchFamily="2" charset="2"/>
              <a:buChar char="§"/>
            </a:pPr>
            <a:r>
              <a:rPr lang="ru-RU" sz="1200" b="0" kern="0" dirty="0">
                <a:cs typeface="Arial" pitchFamily="34" charset="0"/>
              </a:rPr>
              <a:t>Система подачи латекса для производства</a:t>
            </a:r>
          </a:p>
          <a:p>
            <a:pPr>
              <a:spcBef>
                <a:spcPts val="0"/>
              </a:spcBef>
            </a:pPr>
            <a:r>
              <a:rPr lang="ru-RU" sz="1200" b="0" kern="0" dirty="0">
                <a:cs typeface="Arial" pitchFamily="34" charset="0"/>
              </a:rPr>
              <a:t>битумно-полимерной эмульсии</a:t>
            </a:r>
            <a:endParaRPr lang="en-US" sz="1200" b="0" kern="0" dirty="0">
              <a:cs typeface="Arial" pitchFamily="34" charset="0"/>
            </a:endParaRPr>
          </a:p>
          <a:p>
            <a:pPr marL="171450" indent="-171450">
              <a:spcBef>
                <a:spcPts val="0"/>
              </a:spcBef>
              <a:buFont typeface="Wingdings" pitchFamily="2" charset="2"/>
              <a:buChar char="§"/>
            </a:pPr>
            <a:r>
              <a:rPr lang="ru-RU" sz="1200" b="0" kern="0" dirty="0">
                <a:cs typeface="Arial" pitchFamily="34" charset="0"/>
              </a:rPr>
              <a:t>Емкостной парк для хранения эмульсии</a:t>
            </a:r>
            <a:endParaRPr lang="en-US" sz="1200" b="0" kern="0" dirty="0">
              <a:cs typeface="Arial" pitchFamily="34" charset="0"/>
            </a:endParaRPr>
          </a:p>
          <a:p>
            <a:pPr marL="171450" indent="-171450">
              <a:spcBef>
                <a:spcPts val="0"/>
              </a:spcBef>
              <a:buFont typeface="Wingdings" pitchFamily="2" charset="2"/>
              <a:buChar char="§"/>
            </a:pPr>
            <a:r>
              <a:rPr lang="ru-RU" sz="1200" b="0" kern="0" dirty="0">
                <a:cs typeface="Arial" pitchFamily="34" charset="0"/>
              </a:rPr>
              <a:t>Единый узел налива битумных материалов</a:t>
            </a:r>
            <a:endParaRPr lang="en-US" sz="1200" b="0" kern="0" dirty="0">
              <a:cs typeface="Arial" pitchFamily="34" charset="0"/>
            </a:endParaRPr>
          </a:p>
        </p:txBody>
      </p:sp>
      <p:pic>
        <p:nvPicPr>
          <p:cNvPr id="10244" name="Рисунок 27" descr="Секция ПБВ и БЭ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4125" y="2942299"/>
            <a:ext cx="4519019" cy="2876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Номер слайда 1"/>
          <p:cNvSpPr txBox="1">
            <a:spLocks noGrp="1"/>
          </p:cNvSpPr>
          <p:nvPr/>
        </p:nvSpPr>
        <p:spPr bwMode="auto">
          <a:xfrm>
            <a:off x="259292" y="6524625"/>
            <a:ext cx="554513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pPr>
              <a:spcBef>
                <a:spcPct val="0"/>
              </a:spcBef>
            </a:pPr>
            <a:r>
              <a:rPr lang="ru-RU" sz="900" b="0" dirty="0">
                <a:solidFill>
                  <a:schemeClr val="bg1"/>
                </a:solidFill>
              </a:rPr>
              <a:t>Опыт производства ПБВ на  Омском НПЗ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/>
        </p:nvSpPr>
        <p:spPr bwMode="auto">
          <a:xfrm>
            <a:off x="0" y="0"/>
            <a:ext cx="7597775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/>
          <a:lstStyle/>
          <a:p>
            <a:pPr defTabSz="44926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itchFamily="34" charset="0"/>
              <a:buNone/>
              <a:defRPr/>
            </a:pPr>
            <a:r>
              <a:rPr lang="ru-RU" kern="0" dirty="0">
                <a:solidFill>
                  <a:srgbClr val="0066CC"/>
                </a:solidFill>
                <a:latin typeface="Arial" charset="0"/>
              </a:rPr>
              <a:t>Реализация проекта производства ПБВ и битумных эмульсий на Омском НПЗ в 2010 г.</a:t>
            </a:r>
          </a:p>
        </p:txBody>
      </p:sp>
      <p:sp>
        <p:nvSpPr>
          <p:cNvPr id="5" name="Номер слайда 1"/>
          <p:cNvSpPr txBox="1">
            <a:spLocks noGrp="1"/>
          </p:cNvSpPr>
          <p:nvPr/>
        </p:nvSpPr>
        <p:spPr bwMode="auto">
          <a:xfrm>
            <a:off x="8442325" y="6524625"/>
            <a:ext cx="5937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r>
              <a:rPr lang="ru-RU" sz="900" dirty="0">
                <a:solidFill>
                  <a:schemeClr val="bg1"/>
                </a:solidFill>
              </a:rPr>
              <a:t>стр. </a:t>
            </a:r>
            <a:fld id="{1C9BA1F0-87E1-4367-BB4D-6D2A1A0C3841}" type="slidenum">
              <a:rPr lang="ru-RU" sz="900">
                <a:solidFill>
                  <a:schemeClr val="bg1"/>
                </a:solidFill>
              </a:rPr>
              <a:pPr/>
              <a:t>5</a:t>
            </a:fld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6" name="Номер слайда 1"/>
          <p:cNvSpPr txBox="1">
            <a:spLocks noGrp="1"/>
          </p:cNvSpPr>
          <p:nvPr/>
        </p:nvSpPr>
        <p:spPr bwMode="auto">
          <a:xfrm>
            <a:off x="259292" y="6524625"/>
            <a:ext cx="554513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pPr>
              <a:spcBef>
                <a:spcPct val="0"/>
              </a:spcBef>
            </a:pPr>
            <a:r>
              <a:rPr lang="ru-RU" sz="900" b="0" dirty="0">
                <a:solidFill>
                  <a:schemeClr val="bg1"/>
                </a:solidFill>
              </a:rPr>
              <a:t>Опыт производства ПБВ на  Омском НПЗ</a:t>
            </a:r>
          </a:p>
        </p:txBody>
      </p:sp>
      <p:pic>
        <p:nvPicPr>
          <p:cNvPr id="9" name="Massenza GAZPROMNEFT.avi">
            <a:hlinkClick r:id="" action="ppaction://media"/>
          </p:cNvPr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762000" y="982636"/>
            <a:ext cx="7620000" cy="520832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876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3"/>
          <p:cNvGrpSpPr>
            <a:grpSpLocks/>
          </p:cNvGrpSpPr>
          <p:nvPr/>
        </p:nvGrpSpPr>
        <p:grpSpPr bwMode="auto">
          <a:xfrm>
            <a:off x="568960" y="1038649"/>
            <a:ext cx="7345680" cy="5136198"/>
            <a:chOff x="557" y="1281"/>
            <a:chExt cx="2291" cy="2108"/>
          </a:xfrm>
        </p:grpSpPr>
        <p:sp>
          <p:nvSpPr>
            <p:cNvPr id="22" name="Freeform 4"/>
            <p:cNvSpPr>
              <a:spLocks/>
            </p:cNvSpPr>
            <p:nvPr/>
          </p:nvSpPr>
          <p:spPr bwMode="auto">
            <a:xfrm>
              <a:off x="557" y="1281"/>
              <a:ext cx="1453" cy="1054"/>
            </a:xfrm>
            <a:custGeom>
              <a:avLst/>
              <a:gdLst>
                <a:gd name="T0" fmla="*/ 0 w 2312"/>
                <a:gd name="T1" fmla="*/ 0 h 1823"/>
                <a:gd name="T2" fmla="*/ 28 w 2312"/>
                <a:gd name="T3" fmla="*/ 0 h 1823"/>
                <a:gd name="T4" fmla="*/ 28 w 2312"/>
                <a:gd name="T5" fmla="*/ 5 h 1823"/>
                <a:gd name="T6" fmla="*/ 31 w 2312"/>
                <a:gd name="T7" fmla="*/ 5 h 1823"/>
                <a:gd name="T8" fmla="*/ 35 w 2312"/>
                <a:gd name="T9" fmla="*/ 7 h 1823"/>
                <a:gd name="T10" fmla="*/ 31 w 2312"/>
                <a:gd name="T11" fmla="*/ 9 h 1823"/>
                <a:gd name="T12" fmla="*/ 28 w 2312"/>
                <a:gd name="T13" fmla="*/ 8 h 1823"/>
                <a:gd name="T14" fmla="*/ 28 w 2312"/>
                <a:gd name="T15" fmla="*/ 13 h 1823"/>
                <a:gd name="T16" fmla="*/ 18 w 2312"/>
                <a:gd name="T17" fmla="*/ 13 h 1823"/>
                <a:gd name="T18" fmla="*/ 19 w 2312"/>
                <a:gd name="T19" fmla="*/ 12 h 1823"/>
                <a:gd name="T20" fmla="*/ 14 w 2312"/>
                <a:gd name="T21" fmla="*/ 10 h 1823"/>
                <a:gd name="T22" fmla="*/ 9 w 2312"/>
                <a:gd name="T23" fmla="*/ 12 h 1823"/>
                <a:gd name="T24" fmla="*/ 10 w 2312"/>
                <a:gd name="T25" fmla="*/ 13 h 1823"/>
                <a:gd name="T26" fmla="*/ 0 w 2312"/>
                <a:gd name="T27" fmla="*/ 13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497D"/>
            </a:solidFill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wrap="square" lIns="72000" tIns="0" rIns="504000" bIns="0" anchor="ctr"/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4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5"/>
            <p:cNvSpPr>
              <a:spLocks/>
            </p:cNvSpPr>
            <p:nvPr/>
          </p:nvSpPr>
          <p:spPr bwMode="auto">
            <a:xfrm rot="-5400000">
              <a:off x="460" y="2148"/>
              <a:ext cx="1337" cy="1144"/>
            </a:xfrm>
            <a:custGeom>
              <a:avLst/>
              <a:gdLst>
                <a:gd name="T0" fmla="*/ 0 w 2312"/>
                <a:gd name="T1" fmla="*/ 0 h 1823"/>
                <a:gd name="T2" fmla="*/ 1054 w 2312"/>
                <a:gd name="T3" fmla="*/ 0 h 1823"/>
                <a:gd name="T4" fmla="*/ 1054 w 2312"/>
                <a:gd name="T5" fmla="*/ 422 h 1823"/>
                <a:gd name="T6" fmla="*/ 1168 w 2312"/>
                <a:gd name="T7" fmla="*/ 380 h 1823"/>
                <a:gd name="T8" fmla="*/ 1335 w 2312"/>
                <a:gd name="T9" fmla="*/ 578 h 1823"/>
                <a:gd name="T10" fmla="*/ 1190 w 2312"/>
                <a:gd name="T11" fmla="*/ 755 h 1823"/>
                <a:gd name="T12" fmla="*/ 1054 w 2312"/>
                <a:gd name="T13" fmla="*/ 727 h 1823"/>
                <a:gd name="T14" fmla="*/ 1054 w 2312"/>
                <a:gd name="T15" fmla="*/ 1144 h 1823"/>
                <a:gd name="T16" fmla="*/ 666 w 2312"/>
                <a:gd name="T17" fmla="*/ 1144 h 1823"/>
                <a:gd name="T18" fmla="*/ 694 w 2312"/>
                <a:gd name="T19" fmla="*/ 994 h 1823"/>
                <a:gd name="T20" fmla="*/ 530 w 2312"/>
                <a:gd name="T21" fmla="*/ 843 h 1823"/>
                <a:gd name="T22" fmla="*/ 352 w 2312"/>
                <a:gd name="T23" fmla="*/ 1017 h 1823"/>
                <a:gd name="T24" fmla="*/ 388 w 2312"/>
                <a:gd name="T25" fmla="*/ 1144 h 1823"/>
                <a:gd name="T26" fmla="*/ 0 w 2312"/>
                <a:gd name="T27" fmla="*/ 1144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06000"/>
            </a:solidFill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en-GB" kern="0" dirty="0">
                <a:solidFill>
                  <a:sysClr val="windowText" lastClr="000000"/>
                </a:solidFill>
                <a:cs typeface="Arial" charset="0"/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 rot="10800000">
              <a:off x="1396" y="2335"/>
              <a:ext cx="1452" cy="1054"/>
            </a:xfrm>
            <a:custGeom>
              <a:avLst/>
              <a:gdLst>
                <a:gd name="T0" fmla="*/ 0 w 2312"/>
                <a:gd name="T1" fmla="*/ 0 h 1823"/>
                <a:gd name="T2" fmla="*/ 1144 w 2312"/>
                <a:gd name="T3" fmla="*/ 0 h 1823"/>
                <a:gd name="T4" fmla="*/ 1144 w 2312"/>
                <a:gd name="T5" fmla="*/ 389 h 1823"/>
                <a:gd name="T6" fmla="*/ 1269 w 2312"/>
                <a:gd name="T7" fmla="*/ 350 h 1823"/>
                <a:gd name="T8" fmla="*/ 1449 w 2312"/>
                <a:gd name="T9" fmla="*/ 532 h 1823"/>
                <a:gd name="T10" fmla="*/ 1292 w 2312"/>
                <a:gd name="T11" fmla="*/ 696 h 1823"/>
                <a:gd name="T12" fmla="*/ 1144 w 2312"/>
                <a:gd name="T13" fmla="*/ 670 h 1823"/>
                <a:gd name="T14" fmla="*/ 1144 w 2312"/>
                <a:gd name="T15" fmla="*/ 1054 h 1823"/>
                <a:gd name="T16" fmla="*/ 723 w 2312"/>
                <a:gd name="T17" fmla="*/ 1054 h 1823"/>
                <a:gd name="T18" fmla="*/ 754 w 2312"/>
                <a:gd name="T19" fmla="*/ 916 h 1823"/>
                <a:gd name="T20" fmla="*/ 575 w 2312"/>
                <a:gd name="T21" fmla="*/ 777 h 1823"/>
                <a:gd name="T22" fmla="*/ 382 w 2312"/>
                <a:gd name="T23" fmla="*/ 937 h 1823"/>
                <a:gd name="T24" fmla="*/ 421 w 2312"/>
                <a:gd name="T25" fmla="*/ 1054 h 1823"/>
                <a:gd name="T26" fmla="*/ 0 w 2312"/>
                <a:gd name="T27" fmla="*/ 1054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81BD"/>
            </a:solidFill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0" tIns="0" rIns="0" bIns="0" anchor="ctr"/>
            <a:lstStyle/>
            <a:p>
              <a:pPr>
                <a:defRPr/>
              </a:pPr>
              <a:endParaRPr lang="ru-RU" kern="0" dirty="0">
                <a:solidFill>
                  <a:sysClr val="windowText" lastClr="000000"/>
                </a:solidFill>
                <a:cs typeface="Arial" charset="0"/>
              </a:endParaRPr>
            </a:p>
            <a:p>
              <a:pPr>
                <a:defRPr/>
              </a:pPr>
              <a:endParaRPr lang="en-GB" kern="0" dirty="0">
                <a:solidFill>
                  <a:sysClr val="windowText" lastClr="000000"/>
                </a:solidFill>
                <a:cs typeface="Arial" charset="0"/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 rot="5400000">
              <a:off x="1608" y="1378"/>
              <a:ext cx="1337" cy="1143"/>
            </a:xfrm>
            <a:custGeom>
              <a:avLst/>
              <a:gdLst>
                <a:gd name="T0" fmla="*/ 0 w 2312"/>
                <a:gd name="T1" fmla="*/ 0 h 1823"/>
                <a:gd name="T2" fmla="*/ 13 w 2312"/>
                <a:gd name="T3" fmla="*/ 0 h 1823"/>
                <a:gd name="T4" fmla="*/ 13 w 2312"/>
                <a:gd name="T5" fmla="*/ 10 h 1823"/>
                <a:gd name="T6" fmla="*/ 14 w 2312"/>
                <a:gd name="T7" fmla="*/ 9 h 1823"/>
                <a:gd name="T8" fmla="*/ 17 w 2312"/>
                <a:gd name="T9" fmla="*/ 14 h 1823"/>
                <a:gd name="T10" fmla="*/ 15 w 2312"/>
                <a:gd name="T11" fmla="*/ 18 h 1823"/>
                <a:gd name="T12" fmla="*/ 13 w 2312"/>
                <a:gd name="T13" fmla="*/ 18 h 1823"/>
                <a:gd name="T14" fmla="*/ 13 w 2312"/>
                <a:gd name="T15" fmla="*/ 28 h 1823"/>
                <a:gd name="T16" fmla="*/ 8 w 2312"/>
                <a:gd name="T17" fmla="*/ 28 h 1823"/>
                <a:gd name="T18" fmla="*/ 9 w 2312"/>
                <a:gd name="T19" fmla="*/ 24 h 1823"/>
                <a:gd name="T20" fmla="*/ 7 w 2312"/>
                <a:gd name="T21" fmla="*/ 20 h 1823"/>
                <a:gd name="T22" fmla="*/ 5 w 2312"/>
                <a:gd name="T23" fmla="*/ 24 h 1823"/>
                <a:gd name="T24" fmla="*/ 5 w 2312"/>
                <a:gd name="T25" fmla="*/ 28 h 1823"/>
                <a:gd name="T26" fmla="*/ 0 w 2312"/>
                <a:gd name="T27" fmla="*/ 28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C00"/>
            </a:solidFill>
            <a:ln w="12700">
              <a:solidFill>
                <a:srgbClr val="FFFFFF"/>
              </a:solidFill>
              <a:round/>
              <a:headEnd/>
              <a:tailEnd/>
            </a:ln>
          </p:spPr>
          <p:txBody>
            <a:bodyPr vert="vert270" wrap="square" lIns="0" tIns="36000" rIns="540000" bIns="540000" anchor="ctr"/>
            <a:lstStyle/>
            <a:p>
              <a:pPr marL="449263" lvl="0" indent="-90488" algn="ctr"/>
              <a:endParaRPr lang="ru-RU" sz="1400" dirty="0"/>
            </a:p>
          </p:txBody>
        </p:sp>
      </p:grpSp>
      <p:sp>
        <p:nvSpPr>
          <p:cNvPr id="4" name="Прямоугольник 3"/>
          <p:cNvSpPr/>
          <p:nvPr/>
        </p:nvSpPr>
        <p:spPr>
          <a:xfrm>
            <a:off x="614647" y="4413744"/>
            <a:ext cx="269010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dirty="0">
                <a:solidFill>
                  <a:schemeClr val="bg1"/>
                </a:solidFill>
              </a:rPr>
              <a:t>Проведение многолетнего мониторинга состояния дорожных покрытий, устроенных на основе ПБВ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689264" y="4532604"/>
            <a:ext cx="314048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dirty="0">
                <a:solidFill>
                  <a:schemeClr val="bg1"/>
                </a:solidFill>
              </a:rPr>
              <a:t>Разработка рецептур ПБВ, соответствующих климатическим и эксплуатационным требованиям различных регионов РФ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995680" y="1824812"/>
            <a:ext cx="2707640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schemeClr val="bg1"/>
                </a:solidFill>
              </a:rPr>
              <a:t>Мониторинг качества сырья и готовой продукции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4821866" y="1414757"/>
            <a:ext cx="270764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9263" lvl="0" indent="-90488" algn="ctr"/>
            <a:r>
              <a:rPr lang="ru-RU" sz="1400" dirty="0"/>
              <a:t>Проведение исследовательских работ, привлечение международных партнеров для оценки соответствия качества ПБВ европейским стандартам</a:t>
            </a:r>
          </a:p>
        </p:txBody>
      </p:sp>
      <p:sp>
        <p:nvSpPr>
          <p:cNvPr id="33" name="Номер слайда 1"/>
          <p:cNvSpPr txBox="1">
            <a:spLocks noGrp="1"/>
          </p:cNvSpPr>
          <p:nvPr/>
        </p:nvSpPr>
        <p:spPr bwMode="auto">
          <a:xfrm>
            <a:off x="8442325" y="6532245"/>
            <a:ext cx="5937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r>
              <a:rPr lang="ru-RU" sz="900" dirty="0">
                <a:solidFill>
                  <a:schemeClr val="bg1"/>
                </a:solidFill>
              </a:rPr>
              <a:t>стр. </a:t>
            </a:r>
            <a:fld id="{1C9BA1F0-87E1-4367-BB4D-6D2A1A0C3841}" type="slidenum">
              <a:rPr lang="ru-RU" sz="900">
                <a:solidFill>
                  <a:schemeClr val="bg1"/>
                </a:solidFill>
              </a:rPr>
              <a:pPr/>
              <a:t>6</a:t>
            </a:fld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34" name="Rectangle 5"/>
          <p:cNvSpPr>
            <a:spLocks noChangeArrowheads="1"/>
          </p:cNvSpPr>
          <p:nvPr/>
        </p:nvSpPr>
        <p:spPr bwMode="auto">
          <a:xfrm>
            <a:off x="0" y="8256"/>
            <a:ext cx="7597775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/>
          <a:lstStyle/>
          <a:p>
            <a:pPr defTabSz="44926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r>
              <a:rPr lang="ru-RU" dirty="0">
                <a:solidFill>
                  <a:srgbClr val="0070C0"/>
                </a:solidFill>
              </a:rPr>
              <a:t>Обеспечение качества ПБВ на Омском НПЗ</a:t>
            </a:r>
          </a:p>
          <a:p>
            <a:pPr defTabSz="44926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itchFamily="34" charset="0"/>
              <a:buNone/>
              <a:defRPr/>
            </a:pPr>
            <a:endParaRPr lang="ru-RU" kern="0" dirty="0">
              <a:solidFill>
                <a:srgbClr val="0066CC"/>
              </a:solidFill>
              <a:latin typeface="Arial" charset="0"/>
            </a:endParaRPr>
          </a:p>
        </p:txBody>
      </p:sp>
      <p:sp>
        <p:nvSpPr>
          <p:cNvPr id="2" name="Управляющая кнопка: документ 1">
            <a:hlinkClick r:id="rId3" action="ppaction://hlinksldjump" highlightClick="1"/>
          </p:cNvPr>
          <p:cNvSpPr/>
          <p:nvPr/>
        </p:nvSpPr>
        <p:spPr>
          <a:xfrm>
            <a:off x="3798887" y="3170711"/>
            <a:ext cx="356259" cy="344385"/>
          </a:xfrm>
          <a:prstGeom prst="actionButtonDocument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Номер слайда 1"/>
          <p:cNvSpPr txBox="1">
            <a:spLocks noGrp="1"/>
          </p:cNvSpPr>
          <p:nvPr/>
        </p:nvSpPr>
        <p:spPr bwMode="auto">
          <a:xfrm>
            <a:off x="259292" y="6524625"/>
            <a:ext cx="554513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pPr>
              <a:spcBef>
                <a:spcPct val="0"/>
              </a:spcBef>
            </a:pPr>
            <a:r>
              <a:rPr lang="ru-RU" sz="900" b="0" dirty="0">
                <a:solidFill>
                  <a:schemeClr val="bg1"/>
                </a:solidFill>
              </a:rPr>
              <a:t>Опыт производства ПБВ на  Омском НПЗ</a:t>
            </a:r>
          </a:p>
        </p:txBody>
      </p:sp>
      <p:sp>
        <p:nvSpPr>
          <p:cNvPr id="16" name="Управляющая кнопка: документ 15">
            <a:hlinkClick r:id="rId4" action="ppaction://hlinksldjump" highlightClick="1"/>
          </p:cNvPr>
          <p:cNvSpPr/>
          <p:nvPr/>
        </p:nvSpPr>
        <p:spPr>
          <a:xfrm>
            <a:off x="7419645" y="3170711"/>
            <a:ext cx="356259" cy="344385"/>
          </a:xfrm>
          <a:prstGeom prst="actionButtonDocument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30761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5"/>
          <p:cNvSpPr/>
          <p:nvPr/>
        </p:nvSpPr>
        <p:spPr>
          <a:xfrm>
            <a:off x="3031861" y="1428090"/>
            <a:ext cx="3175271" cy="3175271"/>
          </a:xfrm>
          <a:prstGeom prst="gear9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" name="Номер слайда 1"/>
          <p:cNvSpPr txBox="1">
            <a:spLocks noGrp="1"/>
          </p:cNvSpPr>
          <p:nvPr/>
        </p:nvSpPr>
        <p:spPr bwMode="auto">
          <a:xfrm>
            <a:off x="8442325" y="6524625"/>
            <a:ext cx="5937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r>
              <a:rPr lang="ru-RU" sz="900" dirty="0">
                <a:solidFill>
                  <a:schemeClr val="bg1"/>
                </a:solidFill>
              </a:rPr>
              <a:t>стр. </a:t>
            </a:r>
            <a:fld id="{20E63358-B481-4829-A4EF-5F824183D207}" type="slidenum">
              <a:rPr lang="ru-RU" sz="900">
                <a:solidFill>
                  <a:schemeClr val="bg1"/>
                </a:solidFill>
              </a:rPr>
              <a:pPr/>
              <a:t>7</a:t>
            </a:fld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0"/>
            <a:ext cx="8336478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/>
          <a:lstStyle/>
          <a:p>
            <a:pPr defTabSz="44926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itchFamily="34" charset="0"/>
              <a:buNone/>
              <a:defRPr/>
            </a:pPr>
            <a:r>
              <a:rPr lang="ru-RU" kern="0" dirty="0">
                <a:solidFill>
                  <a:srgbClr val="0066CC"/>
                </a:solidFill>
                <a:latin typeface="Arial" charset="0"/>
              </a:rPr>
              <a:t>Ключевые аспекты совершенствования нормативной базы в области применения ПБВ по опыту «Газпром нефть»</a:t>
            </a:r>
          </a:p>
        </p:txBody>
      </p:sp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2273546334"/>
              </p:ext>
            </p:extLst>
          </p:nvPr>
        </p:nvGraphicFramePr>
        <p:xfrm>
          <a:off x="-1607185" y="540266"/>
          <a:ext cx="8907780" cy="57732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46692" y="1362945"/>
            <a:ext cx="1164079" cy="1617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4" descr="6a00d834515bc269e201127944766f28a4-320wi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9695" y="4341344"/>
            <a:ext cx="2554212" cy="191565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Группа 9"/>
          <p:cNvGrpSpPr/>
          <p:nvPr/>
        </p:nvGrpSpPr>
        <p:grpSpPr>
          <a:xfrm>
            <a:off x="3670231" y="2199647"/>
            <a:ext cx="5199605" cy="4057356"/>
            <a:chOff x="2140894" y="1138542"/>
            <a:chExt cx="5199605" cy="4057356"/>
          </a:xfrm>
        </p:grpSpPr>
        <p:sp>
          <p:nvSpPr>
            <p:cNvPr id="13" name="Shape 12"/>
            <p:cNvSpPr/>
            <p:nvPr/>
          </p:nvSpPr>
          <p:spPr>
            <a:xfrm>
              <a:off x="4165228" y="2020627"/>
              <a:ext cx="3175271" cy="3175271"/>
            </a:xfrm>
            <a:prstGeom prst="gear9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Shape 4"/>
            <p:cNvSpPr/>
            <p:nvPr/>
          </p:nvSpPr>
          <p:spPr>
            <a:xfrm>
              <a:off x="2140894" y="1138542"/>
              <a:ext cx="1898529" cy="163215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lvl="0" algn="ctr" defTabSz="5334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dirty="0"/>
                <a:t>Включение в </a:t>
              </a:r>
              <a:r>
                <a:rPr lang="ru-RU" sz="1400" b="1" kern="1200" dirty="0"/>
                <a:t>ГОСТ 9128 и ГОСТ 12801 отличий при использовании ПБВ в качестве вяжущего материала</a:t>
              </a:r>
              <a:endParaRPr lang="ru-RU" sz="1400" kern="1200" dirty="0"/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19970" y="789518"/>
            <a:ext cx="3175271" cy="3175271"/>
            <a:chOff x="3010584" y="1443305"/>
            <a:chExt cx="3175271" cy="3175271"/>
          </a:xfrm>
        </p:grpSpPr>
        <p:sp>
          <p:nvSpPr>
            <p:cNvPr id="19" name="Shape 18"/>
            <p:cNvSpPr/>
            <p:nvPr/>
          </p:nvSpPr>
          <p:spPr>
            <a:xfrm>
              <a:off x="3010584" y="1443305"/>
              <a:ext cx="3175271" cy="3175271"/>
            </a:xfrm>
            <a:prstGeom prst="gear9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Shape 4"/>
            <p:cNvSpPr/>
            <p:nvPr/>
          </p:nvSpPr>
          <p:spPr>
            <a:xfrm>
              <a:off x="3660830" y="2226737"/>
              <a:ext cx="1898529" cy="163215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lvl="0" algn="ctr" defTabSz="4445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dirty="0"/>
                <a:t>В</a:t>
              </a:r>
              <a:r>
                <a:rPr lang="ru-RU" sz="1400" b="1" kern="1200" dirty="0"/>
                <a:t>ключение в ГОСТ Р 52056 раздела по подготовке проб ПБВ для испытаний, а также периодичность проведения испытаний</a:t>
              </a:r>
            </a:p>
          </p:txBody>
        </p:sp>
      </p:grpSp>
      <p:sp>
        <p:nvSpPr>
          <p:cNvPr id="21" name="Shape 4"/>
          <p:cNvSpPr/>
          <p:nvPr/>
        </p:nvSpPr>
        <p:spPr>
          <a:xfrm>
            <a:off x="6332935" y="3853289"/>
            <a:ext cx="1898529" cy="163215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5240" tIns="15240" rIns="15240" bIns="15240" numCol="1" spcCol="1270" anchor="ctr" anchorCtr="0">
            <a:noAutofit/>
          </a:bodyPr>
          <a:lstStyle/>
          <a:p>
            <a:pPr lvl="0" algn="ctr"/>
            <a:r>
              <a:rPr lang="ru-RU" sz="1400" dirty="0"/>
              <a:t>Формирование рекомендаций по изготовлению асфальтобетонной смеси и устройстве покрытий автомобильных дорог на основе ПБВ</a:t>
            </a:r>
          </a:p>
        </p:txBody>
      </p:sp>
      <p:sp>
        <p:nvSpPr>
          <p:cNvPr id="17" name="Номер слайда 1"/>
          <p:cNvSpPr txBox="1">
            <a:spLocks noGrp="1"/>
          </p:cNvSpPr>
          <p:nvPr/>
        </p:nvSpPr>
        <p:spPr bwMode="auto">
          <a:xfrm>
            <a:off x="259292" y="6524625"/>
            <a:ext cx="554513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pPr>
              <a:spcBef>
                <a:spcPct val="0"/>
              </a:spcBef>
            </a:pPr>
            <a:r>
              <a:rPr lang="ru-RU" sz="900" b="0" dirty="0">
                <a:solidFill>
                  <a:schemeClr val="bg1"/>
                </a:solidFill>
              </a:rPr>
              <a:t>Опыт производства ПБВ на  Омском НПЗ</a:t>
            </a:r>
          </a:p>
        </p:txBody>
      </p:sp>
    </p:spTree>
    <p:extLst>
      <p:ext uri="{BB962C8B-B14F-4D97-AF65-F5344CB8AC3E}">
        <p14:creationId xmlns:p14="http://schemas.microsoft.com/office/powerpoint/2010/main" val="38655315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7884368" y="1213654"/>
            <a:ext cx="720080" cy="1890323"/>
          </a:xfrm>
          <a:prstGeom prst="rect">
            <a:avLst/>
          </a:prstGeom>
          <a:solidFill>
            <a:srgbClr val="B8D9F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6618116" y="1703710"/>
            <a:ext cx="726526" cy="1369627"/>
          </a:xfrm>
          <a:prstGeom prst="rect">
            <a:avLst/>
          </a:prstGeom>
          <a:solidFill>
            <a:srgbClr val="B8D9F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5374126" y="2351782"/>
            <a:ext cx="726526" cy="721556"/>
          </a:xfrm>
          <a:prstGeom prst="rect">
            <a:avLst/>
          </a:prstGeom>
          <a:solidFill>
            <a:srgbClr val="B8D9F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429" name="Picture 21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9291" y="706760"/>
            <a:ext cx="4986463" cy="29437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42" name="Номер слайда 1"/>
          <p:cNvSpPr txBox="1">
            <a:spLocks noGrp="1"/>
          </p:cNvSpPr>
          <p:nvPr/>
        </p:nvSpPr>
        <p:spPr bwMode="auto">
          <a:xfrm>
            <a:off x="8442325" y="6524625"/>
            <a:ext cx="5937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r>
              <a:rPr lang="ru-RU" sz="900" dirty="0">
                <a:solidFill>
                  <a:schemeClr val="bg1"/>
                </a:solidFill>
              </a:rPr>
              <a:t>стр. </a:t>
            </a:r>
            <a:fld id="{1C9BA1F0-87E1-4367-BB4D-6D2A1A0C3841}" type="slidenum">
              <a:rPr lang="ru-RU" sz="900">
                <a:solidFill>
                  <a:schemeClr val="bg1"/>
                </a:solidFill>
              </a:rPr>
              <a:pPr/>
              <a:t>8</a:t>
            </a:fld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0" y="0"/>
            <a:ext cx="7597775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/>
          <a:lstStyle/>
          <a:p>
            <a:pPr defTabSz="44926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itchFamily="34" charset="0"/>
              <a:buNone/>
              <a:defRPr/>
            </a:pPr>
            <a:r>
              <a:rPr lang="ru-RU" kern="0" dirty="0">
                <a:solidFill>
                  <a:srgbClr val="0066CC"/>
                </a:solidFill>
              </a:rPr>
              <a:t>Выход на новые регионы сбыта ПБВ за счет использования </a:t>
            </a:r>
            <a:r>
              <a:rPr lang="ru-RU" kern="0" dirty="0" err="1">
                <a:solidFill>
                  <a:srgbClr val="0066CC"/>
                </a:solidFill>
              </a:rPr>
              <a:t>Кловертейнеров</a:t>
            </a:r>
            <a:endParaRPr lang="ru-RU" kern="0" dirty="0">
              <a:solidFill>
                <a:srgbClr val="0066CC"/>
              </a:solidFill>
              <a:latin typeface="Arial" charset="0"/>
            </a:endParaRPr>
          </a:p>
        </p:txBody>
      </p:sp>
      <p:sp>
        <p:nvSpPr>
          <p:cNvPr id="15" name="Rectangle 74"/>
          <p:cNvSpPr>
            <a:spLocks noChangeArrowheads="1"/>
          </p:cNvSpPr>
          <p:nvPr/>
        </p:nvSpPr>
        <p:spPr bwMode="auto">
          <a:xfrm>
            <a:off x="1979712" y="2872457"/>
            <a:ext cx="5762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6600"/>
                </a:solidFill>
                <a:prstDash val="sysDot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ctr"/>
            <a:r>
              <a:rPr lang="ru-RU" sz="14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ОНПЗ</a:t>
            </a:r>
          </a:p>
        </p:txBody>
      </p:sp>
      <p:graphicFrame>
        <p:nvGraphicFramePr>
          <p:cNvPr id="17" name="Object 29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299914"/>
              </p:ext>
            </p:extLst>
          </p:nvPr>
        </p:nvGraphicFramePr>
        <p:xfrm>
          <a:off x="2120943" y="3006800"/>
          <a:ext cx="351149" cy="5758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Clip" r:id="rId5" imgW="5807075" imgH="3009900" progId="">
                  <p:embed/>
                </p:oleObj>
              </mc:Choice>
              <mc:Fallback>
                <p:oleObj name="Clip" r:id="rId5" imgW="5807075" imgH="3009900" progId="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943" y="3006800"/>
                        <a:ext cx="351149" cy="575885"/>
                      </a:xfrm>
                      <a:prstGeom prst="rect">
                        <a:avLst/>
                      </a:prstGeom>
                      <a:noFill/>
                      <a:effectLst>
                        <a:outerShdw dist="53882" dir="13500000" algn="ctr" rotWithShape="0">
                          <a:srgbClr val="808080">
                            <a:alpha val="50000"/>
                          </a:srgbClr>
                        </a:outerShdw>
                      </a:effectLst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8008196"/>
              </p:ext>
            </p:extLst>
          </p:nvPr>
        </p:nvGraphicFramePr>
        <p:xfrm>
          <a:off x="292592" y="4297195"/>
          <a:ext cx="4481496" cy="1735074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22405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09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3670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Регион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Объем реализации ПБВ,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% от общего объема отгрузки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Омская область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26,9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Новосибирская область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6,5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ЯНАО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4,8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Алтайский край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2,3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Московская область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2,5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effectLst/>
                        </a:rPr>
                        <a:t>Магаданская область</a:t>
                      </a:r>
                      <a:endParaRPr lang="ru-RU" sz="11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effectLst/>
                        </a:rPr>
                        <a:t>3,2</a:t>
                      </a:r>
                      <a:endParaRPr lang="ru-RU" sz="11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Дальний Восток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53,8</a:t>
                      </a:r>
                      <a:endParaRPr lang="ru-RU" sz="1100" b="1" i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cxnSp>
        <p:nvCxnSpPr>
          <p:cNvPr id="11" name="Прямая со стрелкой 10"/>
          <p:cNvCxnSpPr/>
          <p:nvPr/>
        </p:nvCxnSpPr>
        <p:spPr>
          <a:xfrm flipV="1">
            <a:off x="2499351" y="1703710"/>
            <a:ext cx="1765704" cy="1088474"/>
          </a:xfrm>
          <a:prstGeom prst="straightConnector1">
            <a:avLst/>
          </a:prstGeom>
          <a:ln w="19050">
            <a:solidFill>
              <a:srgbClr val="00206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Прямая со стрелкой 122"/>
          <p:cNvCxnSpPr/>
          <p:nvPr/>
        </p:nvCxnSpPr>
        <p:spPr>
          <a:xfrm>
            <a:off x="2555975" y="2903253"/>
            <a:ext cx="2084263" cy="76926"/>
          </a:xfrm>
          <a:prstGeom prst="straightConnector1">
            <a:avLst/>
          </a:prstGeom>
          <a:ln w="19050">
            <a:solidFill>
              <a:srgbClr val="00206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 стрелкой 125"/>
          <p:cNvCxnSpPr/>
          <p:nvPr/>
        </p:nvCxnSpPr>
        <p:spPr>
          <a:xfrm>
            <a:off x="2572733" y="3073337"/>
            <a:ext cx="359578" cy="249542"/>
          </a:xfrm>
          <a:prstGeom prst="straightConnector1">
            <a:avLst/>
          </a:prstGeom>
          <a:ln w="19050">
            <a:solidFill>
              <a:srgbClr val="00206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Прямая со стрелкой 128"/>
          <p:cNvCxnSpPr/>
          <p:nvPr/>
        </p:nvCxnSpPr>
        <p:spPr>
          <a:xfrm flipV="1">
            <a:off x="2317117" y="2005247"/>
            <a:ext cx="216223" cy="818549"/>
          </a:xfrm>
          <a:prstGeom prst="straightConnector1">
            <a:avLst/>
          </a:prstGeom>
          <a:ln w="19050">
            <a:solidFill>
              <a:srgbClr val="00206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Прямая со стрелкой 131"/>
          <p:cNvCxnSpPr/>
          <p:nvPr/>
        </p:nvCxnSpPr>
        <p:spPr>
          <a:xfrm flipH="1" flipV="1">
            <a:off x="949318" y="2178764"/>
            <a:ext cx="1152128" cy="645032"/>
          </a:xfrm>
          <a:prstGeom prst="straightConnector1">
            <a:avLst/>
          </a:prstGeom>
          <a:ln w="19050">
            <a:solidFill>
              <a:srgbClr val="00206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" name="Схема 20"/>
          <p:cNvGraphicFramePr/>
          <p:nvPr>
            <p:extLst>
              <p:ext uri="{D42A27DB-BD31-4B8C-83A1-F6EECF244321}">
                <p14:modId xmlns:p14="http://schemas.microsoft.com/office/powerpoint/2010/main" val="256157349"/>
              </p:ext>
            </p:extLst>
          </p:nvPr>
        </p:nvGraphicFramePr>
        <p:xfrm>
          <a:off x="4959417" y="3534771"/>
          <a:ext cx="4076633" cy="29898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27" name="Picture 144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13273" y="754418"/>
            <a:ext cx="4022777" cy="2709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Номер слайда 1"/>
          <p:cNvSpPr txBox="1">
            <a:spLocks noGrp="1"/>
          </p:cNvSpPr>
          <p:nvPr/>
        </p:nvSpPr>
        <p:spPr bwMode="auto">
          <a:xfrm>
            <a:off x="259292" y="6524625"/>
            <a:ext cx="554513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pPr>
              <a:spcBef>
                <a:spcPct val="0"/>
              </a:spcBef>
            </a:pPr>
            <a:r>
              <a:rPr lang="ru-RU" sz="900" b="0" dirty="0">
                <a:solidFill>
                  <a:schemeClr val="bg1"/>
                </a:solidFill>
              </a:rPr>
              <a:t>Опыт производства ПБВ на  Омском НПЗ</a:t>
            </a:r>
          </a:p>
        </p:txBody>
      </p:sp>
    </p:spTree>
    <p:extLst>
      <p:ext uri="{BB962C8B-B14F-4D97-AF65-F5344CB8AC3E}">
        <p14:creationId xmlns:p14="http://schemas.microsoft.com/office/powerpoint/2010/main" val="36338338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Номер слайда 1"/>
          <p:cNvSpPr txBox="1">
            <a:spLocks noGrp="1"/>
          </p:cNvSpPr>
          <p:nvPr/>
        </p:nvSpPr>
        <p:spPr bwMode="auto">
          <a:xfrm>
            <a:off x="8442325" y="6524625"/>
            <a:ext cx="5937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r>
              <a:rPr lang="ru-RU" sz="900" dirty="0">
                <a:solidFill>
                  <a:schemeClr val="bg1"/>
                </a:solidFill>
              </a:rPr>
              <a:t>стр. </a:t>
            </a:r>
            <a:fld id="{1C9BA1F0-87E1-4367-BB4D-6D2A1A0C3841}" type="slidenum">
              <a:rPr lang="ru-RU" sz="900">
                <a:solidFill>
                  <a:schemeClr val="bg1"/>
                </a:solidFill>
              </a:rPr>
              <a:pPr/>
              <a:t>9</a:t>
            </a:fld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0" y="0"/>
            <a:ext cx="7597775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0000" bIns="90000"/>
          <a:lstStyle/>
          <a:p>
            <a:pPr defTabSz="449263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Calibri" pitchFamily="34" charset="0"/>
              <a:buNone/>
              <a:defRPr/>
            </a:pPr>
            <a:r>
              <a:rPr lang="ru-RU" kern="0" dirty="0">
                <a:solidFill>
                  <a:srgbClr val="0066CC"/>
                </a:solidFill>
              </a:rPr>
              <a:t>Объекты применения ПБВ в 2011 году</a:t>
            </a:r>
            <a:endParaRPr lang="ru-RU" kern="0" dirty="0">
              <a:solidFill>
                <a:srgbClr val="0066CC"/>
              </a:solidFill>
              <a:latin typeface="Arial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2036680222"/>
              </p:ext>
            </p:extLst>
          </p:nvPr>
        </p:nvGraphicFramePr>
        <p:xfrm>
          <a:off x="259292" y="1762840"/>
          <a:ext cx="6664022" cy="41892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Прямоугольник 13"/>
          <p:cNvSpPr/>
          <p:nvPr/>
        </p:nvSpPr>
        <p:spPr>
          <a:xfrm>
            <a:off x="109361" y="832783"/>
            <a:ext cx="862982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61950" algn="just" fontAlgn="auto">
              <a:spcBef>
                <a:spcPts val="0"/>
              </a:spcBef>
              <a:spcAft>
                <a:spcPct val="10000"/>
              </a:spcAft>
              <a:defRPr/>
            </a:pPr>
            <a:r>
              <a:rPr lang="ru-RU" sz="1600" dirty="0">
                <a:solidFill>
                  <a:schemeClr val="accent1">
                    <a:lumMod val="75000"/>
                  </a:schemeClr>
                </a:solidFill>
              </a:rPr>
              <a:t>В 2011 году ключевые векторы дистрибуции ПБВ были ориентированы на Сибирский и Дальневосточный регионы со сложными климатическими условиями и повышенной грузонапряженностью автомобильных дорог.</a:t>
            </a:r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04430" y="4566408"/>
            <a:ext cx="3240360" cy="182270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2" name="Прямоугольник 11"/>
          <p:cNvSpPr/>
          <p:nvPr/>
        </p:nvSpPr>
        <p:spPr>
          <a:xfrm>
            <a:off x="6685809" y="4002926"/>
            <a:ext cx="2410691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0"/>
              </a:spcBef>
            </a:pPr>
            <a:r>
              <a:rPr lang="ru-RU" sz="1100" dirty="0"/>
              <a:t>Мостовой переход на </a:t>
            </a:r>
            <a:r>
              <a:rPr lang="ru-RU" sz="1100" dirty="0" err="1"/>
              <a:t>о.Русский</a:t>
            </a:r>
            <a:endParaRPr lang="ru-RU" sz="1100" dirty="0"/>
          </a:p>
          <a:p>
            <a:pPr algn="r">
              <a:spcBef>
                <a:spcPts val="0"/>
              </a:spcBef>
            </a:pPr>
            <a:r>
              <a:rPr lang="ru-RU" sz="1100" dirty="0"/>
              <a:t>через пролив Босфор </a:t>
            </a:r>
            <a:br>
              <a:rPr lang="ru-RU" sz="1100" dirty="0"/>
            </a:br>
            <a:r>
              <a:rPr lang="ru-RU" sz="1100" dirty="0"/>
              <a:t>Восточный во Владивостоке (эстакадные части)</a:t>
            </a:r>
          </a:p>
        </p:txBody>
      </p:sp>
      <p:sp>
        <p:nvSpPr>
          <p:cNvPr id="10" name="Номер слайда 1"/>
          <p:cNvSpPr txBox="1">
            <a:spLocks noGrp="1"/>
          </p:cNvSpPr>
          <p:nvPr/>
        </p:nvSpPr>
        <p:spPr bwMode="auto">
          <a:xfrm>
            <a:off x="259292" y="6524625"/>
            <a:ext cx="554513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pPr>
              <a:spcBef>
                <a:spcPct val="0"/>
              </a:spcBef>
            </a:pPr>
            <a:r>
              <a:rPr lang="ru-RU" sz="900" b="0" dirty="0">
                <a:solidFill>
                  <a:schemeClr val="bg1"/>
                </a:solidFill>
              </a:rPr>
              <a:t>Опыт производства ПБВ на  Омском НПЗ</a:t>
            </a:r>
          </a:p>
        </p:txBody>
      </p:sp>
    </p:spTree>
    <p:extLst>
      <p:ext uri="{BB962C8B-B14F-4D97-AF65-F5344CB8AC3E}">
        <p14:creationId xmlns:p14="http://schemas.microsoft.com/office/powerpoint/2010/main" val="38737074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AE_UC2O0eXBkNpK.Jgng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Специальное оформление">
  <a:themeElements>
    <a:clrScheme name="1_Специальное оформление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_Специальное оформление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Специальное оформление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Специальное оформление">
  <a:themeElements>
    <a:clrScheme name="2_Специальное оформление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_Специальное оформление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Специальное оформление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Оформление по умолчанию">
      <a:majorFont>
        <a:latin typeface=""/>
        <a:ea typeface="Arial Unicode MS"/>
        <a:cs typeface="Arial Unicode MS"/>
      </a:majorFont>
      <a:minorFont>
        <a:latin typeface=""/>
        <a:ea typeface="Arial Unicode MS"/>
        <a:cs typeface="Arial Unicode MS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22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22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357</TotalTime>
  <Words>1359</Words>
  <Application>Microsoft Macintosh PowerPoint</Application>
  <PresentationFormat>Экран (4:3)</PresentationFormat>
  <Paragraphs>208</Paragraphs>
  <Slides>16</Slides>
  <Notes>16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4" baseType="lpstr">
      <vt:lpstr>Arial</vt:lpstr>
      <vt:lpstr>Calibri</vt:lpstr>
      <vt:lpstr>Wingdings</vt:lpstr>
      <vt:lpstr>Специальное оформление</vt:lpstr>
      <vt:lpstr>1_Специальное оформление</vt:lpstr>
      <vt:lpstr>2_Специальное оформление</vt:lpstr>
      <vt:lpstr>2_Оформление по умолчанию</vt:lpstr>
      <vt:lpstr>Clip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none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ЕЗЕНТАЦИИ</dc:title>
  <dc:creator>Dray</dc:creator>
  <cp:lastModifiedBy>Microsoft Office User</cp:lastModifiedBy>
  <cp:revision>1427</cp:revision>
  <cp:lastPrinted>2012-03-28T05:36:30Z</cp:lastPrinted>
  <dcterms:created xsi:type="dcterms:W3CDTF">2008-08-01T15:50:26Z</dcterms:created>
  <dcterms:modified xsi:type="dcterms:W3CDTF">2021-03-04T12:44:39Z</dcterms:modified>
</cp:coreProperties>
</file>